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sldx" ContentType="application/vnd.openxmlformats-officedocument.presentationml.slide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1" r:id="rId1"/>
    <p:sldMasterId id="2147483712" r:id="rId2"/>
    <p:sldMasterId id="2147483728" r:id="rId3"/>
    <p:sldMasterId id="2147483744" r:id="rId4"/>
    <p:sldMasterId id="2147483760" r:id="rId5"/>
    <p:sldMasterId id="2147483776" r:id="rId6"/>
    <p:sldMasterId id="2147483792" r:id="rId7"/>
  </p:sldMasterIdLst>
  <p:notesMasterIdLst>
    <p:notesMasterId r:id="rId33"/>
  </p:notesMasterIdLst>
  <p:handoutMasterIdLst>
    <p:handoutMasterId r:id="rId34"/>
  </p:handoutMasterIdLst>
  <p:sldIdLst>
    <p:sldId id="316" r:id="rId8"/>
    <p:sldId id="352" r:id="rId9"/>
    <p:sldId id="401" r:id="rId10"/>
    <p:sldId id="402" r:id="rId11"/>
    <p:sldId id="374" r:id="rId12"/>
    <p:sldId id="403" r:id="rId13"/>
    <p:sldId id="404" r:id="rId14"/>
    <p:sldId id="375" r:id="rId15"/>
    <p:sldId id="380" r:id="rId16"/>
    <p:sldId id="377" r:id="rId17"/>
    <p:sldId id="379" r:id="rId18"/>
    <p:sldId id="354" r:id="rId19"/>
    <p:sldId id="405" r:id="rId20"/>
    <p:sldId id="406" r:id="rId21"/>
    <p:sldId id="373" r:id="rId22"/>
    <p:sldId id="407" r:id="rId23"/>
    <p:sldId id="355" r:id="rId24"/>
    <p:sldId id="384" r:id="rId25"/>
    <p:sldId id="408" r:id="rId26"/>
    <p:sldId id="409" r:id="rId27"/>
    <p:sldId id="410" r:id="rId28"/>
    <p:sldId id="411" r:id="rId29"/>
    <p:sldId id="381" r:id="rId30"/>
    <p:sldId id="326" r:id="rId31"/>
    <p:sldId id="317" r:id="rId32"/>
  </p:sldIdLst>
  <p:sldSz cx="9144000" cy="5143500" type="screen16x9"/>
  <p:notesSz cx="6797675" cy="9926638"/>
  <p:defaultTextStyle>
    <a:defPPr>
      <a:defRPr lang="en-US"/>
    </a:defPPr>
    <a:lvl1pPr marL="0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516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032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547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051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573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9093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595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2116" algn="l" defTabSz="4565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84">
          <p15:clr>
            <a:srgbClr val="A4A3A4"/>
          </p15:clr>
        </p15:guide>
        <p15:guide id="2" orient="horz" pos="3065">
          <p15:clr>
            <a:srgbClr val="A4A3A4"/>
          </p15:clr>
        </p15:guide>
        <p15:guide id="3" orient="horz" pos="711">
          <p15:clr>
            <a:srgbClr val="A4A3A4"/>
          </p15:clr>
        </p15:guide>
        <p15:guide id="4" pos="5477">
          <p15:clr>
            <a:srgbClr val="A4A3A4"/>
          </p15:clr>
        </p15:guide>
        <p15:guide id="5" pos="4540">
          <p15:clr>
            <a:srgbClr val="A4A3A4"/>
          </p15:clr>
        </p15:guide>
        <p15:guide id="6" pos="28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aelle Dreyer" initials="GDRE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7030A0"/>
    <a:srgbClr val="E7ECEB"/>
    <a:srgbClr val="004992"/>
    <a:srgbClr val="A20000"/>
    <a:srgbClr val="1F720C"/>
    <a:srgbClr val="29950F"/>
    <a:srgbClr val="004D9A"/>
    <a:srgbClr val="005AB4"/>
    <a:srgbClr val="005E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85" autoAdjust="0"/>
    <p:restoredTop sz="89482" autoAdjust="0"/>
  </p:normalViewPr>
  <p:slideViewPr>
    <p:cSldViewPr snapToGrid="0" showGuides="1">
      <p:cViewPr>
        <p:scale>
          <a:sx n="100" d="100"/>
          <a:sy n="100" d="100"/>
        </p:scale>
        <p:origin x="-180" y="-72"/>
      </p:cViewPr>
      <p:guideLst>
        <p:guide orient="horz" pos="684"/>
        <p:guide orient="horz" pos="3065"/>
        <p:guide orient="horz" pos="711"/>
        <p:guide pos="5477"/>
        <p:guide pos="4540"/>
        <p:guide pos="28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27" d="100"/>
        <a:sy n="227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2970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3CAC9B-7036-8C4E-808B-3F13A4C8918F}" type="datetimeFigureOut">
              <a:rPr lang="en-US" smtClean="0"/>
              <a:t>4/2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EF5144-8EB0-4C43-BA02-751F9ED37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1761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213CB5-A413-024A-89DF-4BCD7429F733}" type="datetimeFigureOut">
              <a:rPr lang="en-US" smtClean="0"/>
              <a:t>4/2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ACE17F-244B-5A4C-BB6A-ADD6E89FD7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6663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516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032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547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051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573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093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595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116" algn="l" defTabSz="4565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2238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8938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rgbClr val="35478B"/>
                </a:solidFill>
              </a:rPr>
              <a:t>“International security” refers to the measures taken by state or non-state actors, individually or collectively, to ensure their survival and integrity against </a:t>
            </a:r>
            <a:r>
              <a:rPr lang="en-GB" sz="1200" kern="1200" dirty="0" err="1" smtClean="0">
                <a:solidFill>
                  <a:srgbClr val="35478B"/>
                </a:solidFill>
              </a:rPr>
              <a:t>transboundary</a:t>
            </a:r>
            <a:r>
              <a:rPr lang="en-GB" sz="1200" kern="1200" dirty="0" smtClean="0">
                <a:solidFill>
                  <a:srgbClr val="35478B"/>
                </a:solidFill>
              </a:rPr>
              <a:t> threats.</a:t>
            </a:r>
          </a:p>
          <a:p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5922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5922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8938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>
                <a:solidFill>
                  <a:prstClr val="black"/>
                </a:solidFill>
              </a:rPr>
              <a:pPr/>
              <a:t>16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1242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8938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4442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276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856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85800" lvl="1" indent="-228600">
              <a:buFont typeface="Arial" panose="020B0604020202020204" pitchFamily="34" charset="0"/>
              <a:buAutoNum type="arabicPeriod"/>
            </a:pPr>
            <a:endParaRPr lang="fr-CH" sz="1200" b="0" kern="1200" baseline="0" dirty="0" smtClean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583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2996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CE17F-244B-5A4C-BB6A-ADD6E89FD7B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74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48026" y="2571768"/>
            <a:ext cx="5895975" cy="1420813"/>
          </a:xfrm>
        </p:spPr>
        <p:txBody>
          <a:bodyPr lIns="0" tIns="71892" rIns="0">
            <a:noAutofit/>
          </a:bodyPr>
          <a:lstStyle>
            <a:lvl1pPr marL="0" indent="0">
              <a:lnSpc>
                <a:spcPct val="95000"/>
              </a:lnSpc>
              <a:spcAft>
                <a:spcPts val="800"/>
              </a:spcAft>
              <a:buNone/>
              <a:defRPr sz="3600" spc="-6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Presenta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pic>
        <p:nvPicPr>
          <p:cNvPr id="82" name="Picture 81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3608" y="147910"/>
            <a:ext cx="1574540" cy="1578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11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3250579" y="1085850"/>
            <a:ext cx="5444160" cy="3779838"/>
          </a:xfrm>
          <a:noFill/>
        </p:spPr>
        <p:txBody>
          <a:bodyPr/>
          <a:lstStyle>
            <a:lvl4pPr>
              <a:spcAft>
                <a:spcPts val="2400"/>
              </a:spcAft>
              <a:defRPr sz="2400" spc="-5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5806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450850" y="1085850"/>
            <a:ext cx="2631884" cy="3779838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400" b="0" spc="-5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1025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63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29201"/>
            <a:ext cx="9144000" cy="1836886"/>
          </a:xfrm>
        </p:spPr>
        <p:txBody>
          <a:bodyPr/>
          <a:lstStyle>
            <a:lvl1pPr marL="228532" indent="0">
              <a:spcBef>
                <a:spcPts val="0"/>
              </a:spcBef>
              <a:buNone/>
              <a:defRPr sz="80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63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6" y="2565003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965" indent="0">
              <a:buFontTx/>
              <a:buNone/>
              <a:defRPr sz="1300">
                <a:latin typeface="+mn-lt"/>
              </a:defRPr>
            </a:lvl2pPr>
            <a:lvl3pPr marL="405881" indent="0">
              <a:buFontTx/>
              <a:buNone/>
              <a:defRPr sz="1300">
                <a:latin typeface="+mn-lt"/>
              </a:defRPr>
            </a:lvl3pPr>
            <a:lvl4pPr marL="605846" indent="0">
              <a:buFontTx/>
              <a:buNone/>
              <a:defRPr sz="1300">
                <a:latin typeface="+mn-lt"/>
              </a:defRPr>
            </a:lvl4pPr>
            <a:lvl5pPr marL="805812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3014625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5232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63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63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6" y="2565003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965" indent="0">
              <a:buFontTx/>
              <a:buNone/>
              <a:defRPr sz="1300">
                <a:latin typeface="+mn-lt"/>
              </a:defRPr>
            </a:lvl2pPr>
            <a:lvl3pPr marL="405881" indent="0">
              <a:buFontTx/>
              <a:buNone/>
              <a:defRPr sz="1300">
                <a:latin typeface="+mn-lt"/>
              </a:defRPr>
            </a:lvl3pPr>
            <a:lvl4pPr marL="605846" indent="0">
              <a:buFontTx/>
              <a:buNone/>
              <a:defRPr sz="1300">
                <a:latin typeface="+mn-lt"/>
              </a:defRPr>
            </a:lvl4pPr>
            <a:lvl5pPr marL="805812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53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" y="0"/>
            <a:ext cx="9143709" cy="51435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951" y="1165860"/>
            <a:ext cx="8530908" cy="3538300"/>
          </a:xfrm>
        </p:spPr>
        <p:txBody>
          <a:bodyPr/>
          <a:lstStyle>
            <a:lvl5pPr marL="1009347" indent="-203536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10503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10467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9955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9920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361" y="517242"/>
            <a:ext cx="7656204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205545" y="4924801"/>
            <a:ext cx="809895" cy="1134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800"/>
            <a:ext cx="269965" cy="113400"/>
          </a:xfrm>
        </p:spPr>
        <p:txBody>
          <a:bodyPr anchor="t"/>
          <a:lstStyle>
            <a:lvl1pPr marL="0" algn="r" defTabSz="685595" rtl="0" eaLnBrk="1" latinLnBrk="0" hangingPunct="1">
              <a:buNone/>
              <a:defRPr b="0"/>
            </a:lvl1pPr>
          </a:lstStyle>
          <a:p>
            <a:fld id="{EC55454F-F9AD-41CF-B3B2-412943C2A25E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27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9347" indent="-203536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10503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10467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9955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9920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57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4"/>
            <a:ext cx="8536336" cy="3724275"/>
          </a:xfrm>
        </p:spPr>
        <p:txBody>
          <a:bodyPr/>
          <a:lstStyle>
            <a:lvl1pPr marL="273761" indent="-273761">
              <a:buSzPct val="100000"/>
              <a:buFont typeface="+mj-lt"/>
              <a:buAutoNum type="arabicPeriod"/>
              <a:defRPr/>
            </a:lvl1pPr>
            <a:lvl2pPr marL="473728" indent="-199965">
              <a:defRPr/>
            </a:lvl2pPr>
            <a:lvl3pPr marL="673692" indent="-199965">
              <a:defRPr/>
            </a:lvl3pPr>
            <a:lvl4pPr marL="872467" indent="-198775">
              <a:defRPr/>
            </a:lvl4pPr>
            <a:lvl5pPr marL="1072430" indent="-199965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10503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10467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9955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9920" indent="-214248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81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78177"/>
            <a:ext cx="8534400" cy="1021556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962547"/>
            <a:ext cx="8534400" cy="1125140"/>
          </a:xfrm>
        </p:spPr>
        <p:txBody>
          <a:bodyPr anchor="b"/>
          <a:lstStyle>
            <a:lvl1pPr marL="0" indent="0">
              <a:buNone/>
              <a:defRPr sz="1300"/>
            </a:lvl1pPr>
            <a:lvl2pPr marL="342797" indent="0">
              <a:buNone/>
              <a:defRPr sz="1300"/>
            </a:lvl2pPr>
            <a:lvl3pPr marL="685595" indent="0">
              <a:buNone/>
              <a:defRPr sz="1200"/>
            </a:lvl3pPr>
            <a:lvl4pPr marL="1028391" indent="0">
              <a:buNone/>
              <a:defRPr sz="1000"/>
            </a:lvl4pPr>
            <a:lvl5pPr marL="1371188" indent="0">
              <a:buNone/>
              <a:defRPr sz="1000"/>
            </a:lvl5pPr>
            <a:lvl6pPr marL="1713985" indent="0">
              <a:buNone/>
              <a:defRPr sz="1000"/>
            </a:lvl6pPr>
            <a:lvl7pPr marL="2056784" indent="0">
              <a:buNone/>
              <a:defRPr sz="1000"/>
            </a:lvl7pPr>
            <a:lvl8pPr marL="2399580" indent="0">
              <a:buNone/>
              <a:defRPr sz="1000"/>
            </a:lvl8pPr>
            <a:lvl9pPr marL="274237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886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081087"/>
            <a:ext cx="4151315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503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10467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9955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9920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503" marR="0" lvl="5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467" marR="0" lvl="6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955" marR="0" lvl="7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920" marR="0" lvl="8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10" y="1081087"/>
            <a:ext cx="4152528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503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10467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9955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9920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503" marR="0" lvl="5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467" marR="0" lvl="6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955" marR="0" lvl="7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920" marR="0" lvl="8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36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797" indent="0">
              <a:buNone/>
              <a:defRPr sz="1500" b="1"/>
            </a:lvl2pPr>
            <a:lvl3pPr marL="685595" indent="0">
              <a:buNone/>
              <a:defRPr sz="1300" b="1"/>
            </a:lvl3pPr>
            <a:lvl4pPr marL="1028391" indent="0">
              <a:buNone/>
              <a:defRPr sz="1200" b="1"/>
            </a:lvl4pPr>
            <a:lvl5pPr marL="1371188" indent="0">
              <a:buNone/>
              <a:defRPr sz="1200" b="1"/>
            </a:lvl5pPr>
            <a:lvl6pPr marL="1713985" indent="0">
              <a:buNone/>
              <a:defRPr sz="1200" b="1"/>
            </a:lvl6pPr>
            <a:lvl7pPr marL="2056784" indent="0">
              <a:buNone/>
              <a:defRPr sz="1200" b="1"/>
            </a:lvl7pPr>
            <a:lvl8pPr marL="2399580" indent="0">
              <a:buNone/>
              <a:defRPr sz="1200" b="1"/>
            </a:lvl8pPr>
            <a:lvl9pPr marL="2742378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163115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503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10467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9955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9920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503" marR="0" lvl="5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467" marR="0" lvl="6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955" marR="0" lvl="7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920" marR="0" lvl="8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797" indent="0">
              <a:buNone/>
              <a:defRPr sz="1500" b="1"/>
            </a:lvl2pPr>
            <a:lvl3pPr marL="685595" indent="0">
              <a:buNone/>
              <a:defRPr sz="1300" b="1"/>
            </a:lvl3pPr>
            <a:lvl4pPr marL="1028391" indent="0">
              <a:buNone/>
              <a:defRPr sz="1200" b="1"/>
            </a:lvl4pPr>
            <a:lvl5pPr marL="1371188" indent="0">
              <a:buNone/>
              <a:defRPr sz="1200" b="1"/>
            </a:lvl5pPr>
            <a:lvl6pPr marL="1713985" indent="0">
              <a:buNone/>
              <a:defRPr sz="1200" b="1"/>
            </a:lvl6pPr>
            <a:lvl7pPr marL="2056784" indent="0">
              <a:buNone/>
              <a:defRPr sz="1200" b="1"/>
            </a:lvl7pPr>
            <a:lvl8pPr marL="2399580" indent="0">
              <a:buNone/>
              <a:defRPr sz="1200" b="1"/>
            </a:lvl8pPr>
            <a:lvl9pPr marL="2742378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162480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503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10467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9955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9920" marR="0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503" marR="0" lvl="5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467" marR="0" lvl="6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955" marR="0" lvl="7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920" marR="0" lvl="8" indent="-214248" algn="l" defTabSz="6855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96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10" name="Picture 9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36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0" y="1072754"/>
            <a:ext cx="8527870" cy="3713559"/>
          </a:xfrm>
        </p:spPr>
        <p:txBody>
          <a:bodyPr/>
          <a:lstStyle>
            <a:lvl1pPr marL="0" indent="0">
              <a:buNone/>
              <a:defRPr sz="2400"/>
            </a:lvl1pPr>
            <a:lvl2pPr marL="342797" indent="0">
              <a:buNone/>
              <a:defRPr sz="2100"/>
            </a:lvl2pPr>
            <a:lvl3pPr marL="685595" indent="0">
              <a:buNone/>
              <a:defRPr sz="1800"/>
            </a:lvl3pPr>
            <a:lvl4pPr marL="1028391" indent="0">
              <a:buNone/>
              <a:defRPr sz="1500"/>
            </a:lvl4pPr>
            <a:lvl5pPr marL="1371188" indent="0">
              <a:buNone/>
              <a:defRPr sz="1500"/>
            </a:lvl5pPr>
            <a:lvl6pPr marL="1713985" indent="0">
              <a:buNone/>
              <a:defRPr sz="1500"/>
            </a:lvl6pPr>
            <a:lvl7pPr marL="2056784" indent="0">
              <a:buNone/>
              <a:defRPr sz="1500"/>
            </a:lvl7pPr>
            <a:lvl8pPr marL="2399580" indent="0">
              <a:buNone/>
              <a:defRPr sz="1500"/>
            </a:lvl8pPr>
            <a:lvl9pPr marL="2742378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25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5806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3172251" y="1128713"/>
            <a:ext cx="0" cy="3710583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7201" y="1085850"/>
            <a:ext cx="2623782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2pPr>
            <a:lvl3pPr marL="171180" indent="-171180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3400"/>
              </a:spcAft>
              <a:defRPr sz="3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072756"/>
            <a:ext cx="8534400" cy="3721496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1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3" y="2230844"/>
            <a:ext cx="7655803" cy="506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3967163"/>
            <a:ext cx="7678738" cy="16158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00" b="1" baseline="0">
                <a:latin typeface="+mn-lt"/>
              </a:defRPr>
            </a:lvl1pPr>
            <a:lvl2pPr marL="199965" indent="0">
              <a:buFontTx/>
              <a:buNone/>
              <a:defRPr sz="1300">
                <a:latin typeface="+mn-lt"/>
              </a:defRPr>
            </a:lvl2pPr>
            <a:lvl3pPr marL="405881" indent="0">
              <a:buFontTx/>
              <a:buNone/>
              <a:defRPr sz="1300">
                <a:latin typeface="+mn-lt"/>
              </a:defRPr>
            </a:lvl3pPr>
            <a:lvl4pPr marL="605846" indent="0">
              <a:buFontTx/>
              <a:buNone/>
              <a:defRPr sz="1300">
                <a:latin typeface="+mn-lt"/>
              </a:defRPr>
            </a:lvl4pPr>
            <a:lvl5pPr marL="805812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4138814"/>
            <a:ext cx="7678738" cy="1615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 b="1"/>
            </a:lvl1pPr>
            <a:lvl2pPr marL="199965" indent="0">
              <a:buFontTx/>
              <a:buNone/>
              <a:defRPr sz="1000"/>
            </a:lvl2pPr>
            <a:lvl3pPr marL="405881" indent="0">
              <a:buFontTx/>
              <a:buNone/>
              <a:defRPr sz="1000"/>
            </a:lvl3pPr>
            <a:lvl4pPr marL="605846" indent="0">
              <a:buFontTx/>
              <a:buNone/>
              <a:defRPr sz="1000"/>
            </a:lvl4pPr>
            <a:lvl5pPr marL="805812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02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31" y="1049274"/>
            <a:ext cx="8273143" cy="369646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700" dirty="0" smtClean="0"/>
            </a:lvl1pPr>
            <a:lvl2pPr>
              <a:defRPr lang="en-US" sz="1700" dirty="0" smtClean="0"/>
            </a:lvl2pPr>
            <a:lvl3pPr>
              <a:defRPr lang="en-US" sz="1700" dirty="0" smtClean="0"/>
            </a:lvl3pPr>
            <a:lvl4pPr>
              <a:defRPr lang="en-US" sz="1700" dirty="0" smtClean="0"/>
            </a:lvl4pPr>
            <a:lvl5pPr>
              <a:defRPr lang="en-US" sz="1700" dirty="0" smtClean="0"/>
            </a:lvl5pPr>
            <a:lvl6pPr>
              <a:defRPr lang="en-US" sz="1700" dirty="0" smtClean="0"/>
            </a:lvl6pPr>
            <a:lvl7pPr>
              <a:defRPr lang="en-US" sz="1700" dirty="0" smtClean="0"/>
            </a:lvl7pPr>
            <a:lvl8pPr>
              <a:defRPr lang="en-US" sz="1700" dirty="0" smtClean="0"/>
            </a:lvl8pPr>
            <a:lvl9pPr>
              <a:defRPr lang="en-US" sz="17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20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9185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53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405" indent="-171405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4671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58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52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170566" y="1145308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08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08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08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8"/>
            <a:ext cx="1220787" cy="3721486"/>
          </a:xfrm>
        </p:spPr>
        <p:txBody>
          <a:bodyPr bIns="467961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5" y="1144588"/>
            <a:ext cx="1220787" cy="3721486"/>
          </a:xfrm>
        </p:spPr>
        <p:txBody>
          <a:bodyPr bIns="467961" anchor="ctr">
            <a:normAutofit/>
          </a:bodyPr>
          <a:lstStyle>
            <a:lvl1pPr marL="0" marR="0" indent="0" algn="ctr" defTabSz="45716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8"/>
            <a:ext cx="1220787" cy="3721486"/>
          </a:xfrm>
        </p:spPr>
        <p:txBody>
          <a:bodyPr bIns="467961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8"/>
            <a:ext cx="1220787" cy="3721486"/>
          </a:xfrm>
        </p:spPr>
        <p:txBody>
          <a:bodyPr bIns="467961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589"/>
            <a:ext cx="1220787" cy="1004887"/>
          </a:xfrm>
        </p:spPr>
        <p:txBody>
          <a:bodyPr lIns="71994" tIns="35997" rIns="71994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589"/>
            <a:ext cx="1220786" cy="1004887"/>
          </a:xfrm>
        </p:spPr>
        <p:txBody>
          <a:bodyPr lIns="71994" tIns="35997" rIns="71994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589"/>
            <a:ext cx="1220786" cy="1004887"/>
          </a:xfrm>
        </p:spPr>
        <p:txBody>
          <a:bodyPr lIns="71994" tIns="35997" rIns="71994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589"/>
            <a:ext cx="1220787" cy="1004887"/>
          </a:xfrm>
        </p:spPr>
        <p:txBody>
          <a:bodyPr lIns="71994" tIns="35997" rIns="71994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7075" y="4924428"/>
            <a:ext cx="269965" cy="111919"/>
          </a:xfrm>
        </p:spPr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25" name="citextline"/>
          <p:cNvCxnSpPr/>
          <p:nvPr userDrawn="1"/>
        </p:nvCxnSpPr>
        <p:spPr bwMode="auto">
          <a:xfrm>
            <a:off x="304801" y="4860004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02361" y="234556"/>
            <a:ext cx="7656204" cy="269267"/>
          </a:xfrm>
        </p:spPr>
        <p:txBody>
          <a:bodyPr/>
          <a:lstStyle>
            <a:lvl1pPr>
              <a:tabLst>
                <a:tab pos="2709185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96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0" cy="277104"/>
          </a:xfrm>
        </p:spPr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Media Placeholder 7"/>
          <p:cNvSpPr>
            <a:spLocks noGrp="1"/>
          </p:cNvSpPr>
          <p:nvPr>
            <p:ph type="media" sz="quarter" idx="13"/>
          </p:nvPr>
        </p:nvSpPr>
        <p:spPr>
          <a:xfrm>
            <a:off x="450868" y="570698"/>
            <a:ext cx="8243887" cy="4116387"/>
          </a:xfrm>
        </p:spPr>
        <p:txBody>
          <a:bodyPr bIns="794412"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399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4 column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1" cy="598620"/>
          </a:xfrm>
        </p:spPr>
        <p:txBody>
          <a:bodyPr/>
          <a:lstStyle>
            <a:lvl1pPr>
              <a:tabLst>
                <a:tab pos="2705806" algn="l"/>
              </a:tabLst>
              <a:defRPr>
                <a:solidFill>
                  <a:srgbClr val="000000"/>
                </a:solidFill>
              </a:defRPr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85869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rgbClr val="000000"/>
                </a:solidFill>
              </a:defRPr>
            </a:lvl2pPr>
            <a:lvl3pPr marL="0" indent="0">
              <a:buNone/>
              <a:defRPr>
                <a:solidFill>
                  <a:srgbClr val="000000"/>
                </a:solidFill>
              </a:defRPr>
            </a:lvl3pPr>
            <a:lvl4pPr>
              <a:defRPr sz="1100" b="1"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  <a:noFill/>
        </p:spPr>
        <p:txBody>
          <a:bodyPr bIns="467298" anchor="ctr">
            <a:normAutofit/>
          </a:bodyPr>
          <a:lstStyle>
            <a:lvl1pPr algn="ctr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  <a:noFill/>
        </p:spPr>
        <p:txBody>
          <a:bodyPr bIns="467298" anchor="ctr">
            <a:normAutofit/>
          </a:bodyPr>
          <a:lstStyle>
            <a:lvl1pPr marL="0" marR="0" indent="0" algn="ctr" defTabSz="45651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  <a:noFill/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  <a:noFill/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255963" y="1144607"/>
            <a:ext cx="1220787" cy="928549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4662035" y="1144607"/>
            <a:ext cx="1220786" cy="928549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6068107" y="1144607"/>
            <a:ext cx="1220786" cy="928549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7474177" y="1144607"/>
            <a:ext cx="1220787" cy="928549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3" name="Text Placeholder 20"/>
          <p:cNvSpPr>
            <a:spLocks noGrp="1"/>
          </p:cNvSpPr>
          <p:nvPr>
            <p:ph type="body" sz="quarter" idx="21"/>
          </p:nvPr>
        </p:nvSpPr>
        <p:spPr>
          <a:xfrm>
            <a:off x="3255963" y="2073139"/>
            <a:ext cx="1220787" cy="526424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1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4" name="Text Placeholder 20"/>
          <p:cNvSpPr>
            <a:spLocks noGrp="1"/>
          </p:cNvSpPr>
          <p:nvPr>
            <p:ph type="body" sz="quarter" idx="22"/>
          </p:nvPr>
        </p:nvSpPr>
        <p:spPr>
          <a:xfrm>
            <a:off x="4662035" y="2073139"/>
            <a:ext cx="1220786" cy="526424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1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5" name="Text Placeholder 20"/>
          <p:cNvSpPr>
            <a:spLocks noGrp="1"/>
          </p:cNvSpPr>
          <p:nvPr>
            <p:ph type="body" sz="quarter" idx="23"/>
          </p:nvPr>
        </p:nvSpPr>
        <p:spPr>
          <a:xfrm>
            <a:off x="6068107" y="2073139"/>
            <a:ext cx="1220786" cy="526424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1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6" name="Text Placeholder 20"/>
          <p:cNvSpPr>
            <a:spLocks noGrp="1"/>
          </p:cNvSpPr>
          <p:nvPr>
            <p:ph type="body" sz="quarter" idx="24"/>
          </p:nvPr>
        </p:nvSpPr>
        <p:spPr>
          <a:xfrm>
            <a:off x="7474177" y="2073139"/>
            <a:ext cx="1220787" cy="526424"/>
          </a:xfrm>
          <a:ln>
            <a:noFill/>
          </a:ln>
        </p:spPr>
        <p:txBody>
          <a:bodyPr lIns="71892" tIns="35946" rIns="71892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1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217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4 columns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1" cy="598620"/>
          </a:xfrm>
        </p:spPr>
        <p:txBody>
          <a:bodyPr/>
          <a:lstStyle>
            <a:lvl1pPr>
              <a:tabLst>
                <a:tab pos="2705806" algn="l"/>
              </a:tabLst>
              <a:defRPr>
                <a:solidFill>
                  <a:srgbClr val="000000"/>
                </a:solidFill>
              </a:defRPr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85869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000000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 sz="1100" b="0">
                <a:solidFill>
                  <a:srgbClr val="000000"/>
                </a:solidFill>
              </a:defRPr>
            </a:lvl2pPr>
            <a:lvl3pPr marL="0" indent="0">
              <a:lnSpc>
                <a:spcPct val="110000"/>
              </a:lnSpc>
              <a:spcAft>
                <a:spcPts val="1200"/>
              </a:spcAft>
              <a:buNone/>
              <a:defRPr sz="1100" b="0">
                <a:solidFill>
                  <a:srgbClr val="000000"/>
                </a:solidFill>
              </a:defRPr>
            </a:lvl3pPr>
            <a:lvl4pPr>
              <a:lnSpc>
                <a:spcPct val="110000"/>
              </a:lnSpc>
              <a:spcAft>
                <a:spcPts val="1200"/>
              </a:spcAft>
              <a:defRPr sz="1100" b="0">
                <a:solidFill>
                  <a:srgbClr val="000000"/>
                </a:solidFill>
              </a:defRPr>
            </a:lvl4pPr>
            <a:lvl5pPr>
              <a:lnSpc>
                <a:spcPct val="110000"/>
              </a:lnSpc>
              <a:spcAft>
                <a:spcPts val="1200"/>
              </a:spcAft>
              <a:defRPr sz="11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4" y="1144588"/>
            <a:ext cx="919044" cy="1281578"/>
          </a:xfrm>
          <a:solidFill>
            <a:srgbClr val="FFFFFF"/>
          </a:solidFill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bIns="467298" anchor="ctr">
            <a:normAutofit/>
          </a:bodyPr>
          <a:lstStyle>
            <a:lvl1pPr algn="ctr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5" y="1144588"/>
            <a:ext cx="919044" cy="1281578"/>
          </a:xfrm>
          <a:solidFill>
            <a:srgbClr val="FFFFFF"/>
          </a:solidFill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bIns="467298" anchor="ctr">
            <a:normAutofit/>
          </a:bodyPr>
          <a:lstStyle>
            <a:lvl1pPr marL="0" marR="0" indent="0" algn="ctr" defTabSz="45651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6" y="1144588"/>
            <a:ext cx="919044" cy="1281578"/>
          </a:xfrm>
          <a:solidFill>
            <a:srgbClr val="FFFFFF"/>
          </a:solidFill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8" y="1144588"/>
            <a:ext cx="919044" cy="1281578"/>
          </a:xfrm>
          <a:solidFill>
            <a:srgbClr val="FFFFFF"/>
          </a:solidFill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53" name="Text Placeholder 20"/>
          <p:cNvSpPr>
            <a:spLocks noGrp="1"/>
          </p:cNvSpPr>
          <p:nvPr>
            <p:ph type="body" sz="quarter" idx="21"/>
          </p:nvPr>
        </p:nvSpPr>
        <p:spPr>
          <a:xfrm>
            <a:off x="3255963" y="2523603"/>
            <a:ext cx="1220787" cy="2342489"/>
          </a:xfrm>
          <a:ln>
            <a:noFill/>
          </a:ln>
        </p:spPr>
        <p:txBody>
          <a:bodyPr lIns="0" tIns="0" rIns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 b="1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4" name="Text Placeholder 20"/>
          <p:cNvSpPr>
            <a:spLocks noGrp="1"/>
          </p:cNvSpPr>
          <p:nvPr>
            <p:ph type="body" sz="quarter" idx="22"/>
          </p:nvPr>
        </p:nvSpPr>
        <p:spPr>
          <a:xfrm>
            <a:off x="4662035" y="2523603"/>
            <a:ext cx="1220786" cy="2342489"/>
          </a:xfrm>
          <a:ln>
            <a:noFill/>
          </a:ln>
        </p:spPr>
        <p:txBody>
          <a:bodyPr lIns="0" tIns="0" rIns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 b="1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5" name="Text Placeholder 20"/>
          <p:cNvSpPr>
            <a:spLocks noGrp="1"/>
          </p:cNvSpPr>
          <p:nvPr>
            <p:ph type="body" sz="quarter" idx="23"/>
          </p:nvPr>
        </p:nvSpPr>
        <p:spPr>
          <a:xfrm>
            <a:off x="6068107" y="2523603"/>
            <a:ext cx="1220786" cy="2342489"/>
          </a:xfrm>
          <a:ln>
            <a:noFill/>
          </a:ln>
        </p:spPr>
        <p:txBody>
          <a:bodyPr lIns="0" tIns="0" rIns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 b="1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6" name="Text Placeholder 20"/>
          <p:cNvSpPr>
            <a:spLocks noGrp="1"/>
          </p:cNvSpPr>
          <p:nvPr>
            <p:ph type="body" sz="quarter" idx="24"/>
          </p:nvPr>
        </p:nvSpPr>
        <p:spPr>
          <a:xfrm>
            <a:off x="7474177" y="2523603"/>
            <a:ext cx="1220787" cy="2342489"/>
          </a:xfrm>
          <a:ln>
            <a:noFill/>
          </a:ln>
        </p:spPr>
        <p:txBody>
          <a:bodyPr lIns="0" tIns="0" rIns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 b="1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49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"/>
          <p:cNvSpPr>
            <a:spLocks noGrp="1"/>
          </p:cNvSpPr>
          <p:nvPr>
            <p:ph type="body" idx="41" hasCustomPrompt="1"/>
          </p:nvPr>
        </p:nvSpPr>
        <p:spPr>
          <a:xfrm>
            <a:off x="980142" y="2860821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5" name="Text Placeholder 2"/>
          <p:cNvSpPr>
            <a:spLocks noGrp="1"/>
          </p:cNvSpPr>
          <p:nvPr>
            <p:ph type="body" idx="42" hasCustomPrompt="1"/>
          </p:nvPr>
        </p:nvSpPr>
        <p:spPr>
          <a:xfrm>
            <a:off x="980142" y="3287010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6" name="Text Placeholder 2"/>
          <p:cNvSpPr>
            <a:spLocks noGrp="1"/>
          </p:cNvSpPr>
          <p:nvPr>
            <p:ph type="body" idx="43" hasCustomPrompt="1"/>
          </p:nvPr>
        </p:nvSpPr>
        <p:spPr>
          <a:xfrm>
            <a:off x="980142" y="3713196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7" name="Text Placeholder 2"/>
          <p:cNvSpPr>
            <a:spLocks noGrp="1"/>
          </p:cNvSpPr>
          <p:nvPr>
            <p:ph type="body" idx="44" hasCustomPrompt="1"/>
          </p:nvPr>
        </p:nvSpPr>
        <p:spPr>
          <a:xfrm>
            <a:off x="980142" y="4139382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8" name="Text Placeholder 2"/>
          <p:cNvSpPr>
            <a:spLocks noGrp="1"/>
          </p:cNvSpPr>
          <p:nvPr>
            <p:ph type="body" idx="45" hasCustomPrompt="1"/>
          </p:nvPr>
        </p:nvSpPr>
        <p:spPr>
          <a:xfrm>
            <a:off x="980142" y="4565568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28" hasCustomPrompt="1"/>
          </p:nvPr>
        </p:nvSpPr>
        <p:spPr>
          <a:xfrm>
            <a:off x="450851" y="2861493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31" hasCustomPrompt="1"/>
          </p:nvPr>
        </p:nvSpPr>
        <p:spPr>
          <a:xfrm>
            <a:off x="450851" y="3288015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32" hasCustomPrompt="1"/>
          </p:nvPr>
        </p:nvSpPr>
        <p:spPr>
          <a:xfrm>
            <a:off x="450851" y="3714537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33" hasCustomPrompt="1"/>
          </p:nvPr>
        </p:nvSpPr>
        <p:spPr>
          <a:xfrm>
            <a:off x="450851" y="4141056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34" hasCustomPrompt="1"/>
          </p:nvPr>
        </p:nvSpPr>
        <p:spPr>
          <a:xfrm>
            <a:off x="450851" y="4567578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83" name="Text Placeholder 2"/>
          <p:cNvSpPr>
            <a:spLocks noGrp="1"/>
          </p:cNvSpPr>
          <p:nvPr>
            <p:ph type="body" idx="60" hasCustomPrompt="1"/>
          </p:nvPr>
        </p:nvSpPr>
        <p:spPr>
          <a:xfrm>
            <a:off x="6597803" y="2008449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4" name="Text Placeholder 2"/>
          <p:cNvSpPr>
            <a:spLocks noGrp="1"/>
          </p:cNvSpPr>
          <p:nvPr>
            <p:ph type="body" idx="61" hasCustomPrompt="1"/>
          </p:nvPr>
        </p:nvSpPr>
        <p:spPr>
          <a:xfrm>
            <a:off x="6597803" y="2434635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5" name="Text Placeholder 2"/>
          <p:cNvSpPr>
            <a:spLocks noGrp="1"/>
          </p:cNvSpPr>
          <p:nvPr>
            <p:ph type="body" idx="62" hasCustomPrompt="1"/>
          </p:nvPr>
        </p:nvSpPr>
        <p:spPr>
          <a:xfrm>
            <a:off x="6597803" y="2860821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6" name="Text Placeholder 2"/>
          <p:cNvSpPr>
            <a:spLocks noGrp="1"/>
          </p:cNvSpPr>
          <p:nvPr>
            <p:ph type="body" idx="63" hasCustomPrompt="1"/>
          </p:nvPr>
        </p:nvSpPr>
        <p:spPr>
          <a:xfrm>
            <a:off x="6597803" y="3287010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7" name="Text Placeholder 2"/>
          <p:cNvSpPr>
            <a:spLocks noGrp="1"/>
          </p:cNvSpPr>
          <p:nvPr>
            <p:ph type="body" idx="64" hasCustomPrompt="1"/>
          </p:nvPr>
        </p:nvSpPr>
        <p:spPr>
          <a:xfrm>
            <a:off x="6597803" y="3713196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8" name="Text Placeholder 2"/>
          <p:cNvSpPr>
            <a:spLocks noGrp="1"/>
          </p:cNvSpPr>
          <p:nvPr>
            <p:ph type="body" idx="65" hasCustomPrompt="1"/>
          </p:nvPr>
        </p:nvSpPr>
        <p:spPr>
          <a:xfrm>
            <a:off x="6597803" y="4139382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9" name="Text Placeholder 2"/>
          <p:cNvSpPr>
            <a:spLocks noGrp="1"/>
          </p:cNvSpPr>
          <p:nvPr>
            <p:ph type="body" idx="66" hasCustomPrompt="1"/>
          </p:nvPr>
        </p:nvSpPr>
        <p:spPr>
          <a:xfrm>
            <a:off x="6597803" y="4565568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idx="53" hasCustomPrompt="1"/>
          </p:nvPr>
        </p:nvSpPr>
        <p:spPr>
          <a:xfrm>
            <a:off x="3787775" y="2008449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idx="54" hasCustomPrompt="1"/>
          </p:nvPr>
        </p:nvSpPr>
        <p:spPr>
          <a:xfrm>
            <a:off x="3787775" y="2434635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78" name="Text Placeholder 2"/>
          <p:cNvSpPr>
            <a:spLocks noGrp="1"/>
          </p:cNvSpPr>
          <p:nvPr>
            <p:ph type="body" idx="55" hasCustomPrompt="1"/>
          </p:nvPr>
        </p:nvSpPr>
        <p:spPr>
          <a:xfrm>
            <a:off x="3787775" y="2860821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idx="56" hasCustomPrompt="1"/>
          </p:nvPr>
        </p:nvSpPr>
        <p:spPr>
          <a:xfrm>
            <a:off x="3787775" y="3287010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0" name="Text Placeholder 2"/>
          <p:cNvSpPr>
            <a:spLocks noGrp="1"/>
          </p:cNvSpPr>
          <p:nvPr>
            <p:ph type="body" idx="57" hasCustomPrompt="1"/>
          </p:nvPr>
        </p:nvSpPr>
        <p:spPr>
          <a:xfrm>
            <a:off x="3787775" y="3713196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idx="58" hasCustomPrompt="1"/>
          </p:nvPr>
        </p:nvSpPr>
        <p:spPr>
          <a:xfrm>
            <a:off x="3787775" y="4139382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82" name="Text Placeholder 2"/>
          <p:cNvSpPr>
            <a:spLocks noGrp="1"/>
          </p:cNvSpPr>
          <p:nvPr>
            <p:ph type="body" idx="59" hasCustomPrompt="1"/>
          </p:nvPr>
        </p:nvSpPr>
        <p:spPr>
          <a:xfrm>
            <a:off x="3787775" y="4565568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0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980142" y="1573983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2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980142" y="2008449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63" name="Text Placeholder 2"/>
          <p:cNvSpPr>
            <a:spLocks noGrp="1"/>
          </p:cNvSpPr>
          <p:nvPr>
            <p:ph type="body" idx="40" hasCustomPrompt="1"/>
          </p:nvPr>
        </p:nvSpPr>
        <p:spPr>
          <a:xfrm>
            <a:off x="980142" y="2434635"/>
            <a:ext cx="2120901" cy="290512"/>
          </a:xfrm>
          <a:noFill/>
        </p:spPr>
        <p:txBody>
          <a:bodyPr bIns="35946" anchor="ctr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000" b="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161062" y="2008466"/>
            <a:ext cx="0" cy="2842037"/>
          </a:xfrm>
          <a:prstGeom prst="line">
            <a:avLst/>
          </a:prstGeom>
          <a:ln w="635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5975246" y="2008466"/>
            <a:ext cx="0" cy="2842037"/>
          </a:xfrm>
          <a:prstGeom prst="line">
            <a:avLst/>
          </a:prstGeom>
          <a:ln w="635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3258483" y="2861493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3258483" y="2434971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3258483" y="2008449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6" hasCustomPrompt="1"/>
          </p:nvPr>
        </p:nvSpPr>
        <p:spPr>
          <a:xfrm>
            <a:off x="3258483" y="3288015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7" hasCustomPrompt="1"/>
          </p:nvPr>
        </p:nvSpPr>
        <p:spPr>
          <a:xfrm>
            <a:off x="3258483" y="3714537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>
          <a:xfrm>
            <a:off x="3258483" y="4141056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19" hasCustomPrompt="1"/>
          </p:nvPr>
        </p:nvSpPr>
        <p:spPr>
          <a:xfrm>
            <a:off x="3258483" y="4567578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0" hasCustomPrompt="1"/>
          </p:nvPr>
        </p:nvSpPr>
        <p:spPr>
          <a:xfrm>
            <a:off x="6068511" y="2861493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1" hasCustomPrompt="1"/>
          </p:nvPr>
        </p:nvSpPr>
        <p:spPr>
          <a:xfrm>
            <a:off x="6068511" y="2434971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22" hasCustomPrompt="1"/>
          </p:nvPr>
        </p:nvSpPr>
        <p:spPr>
          <a:xfrm>
            <a:off x="6068511" y="2008449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3" hasCustomPrompt="1"/>
          </p:nvPr>
        </p:nvSpPr>
        <p:spPr>
          <a:xfrm>
            <a:off x="6068511" y="3288015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4" hasCustomPrompt="1"/>
          </p:nvPr>
        </p:nvSpPr>
        <p:spPr>
          <a:xfrm>
            <a:off x="6068511" y="3714537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38" name="Picture Placeholder 13"/>
          <p:cNvSpPr>
            <a:spLocks noGrp="1"/>
          </p:cNvSpPr>
          <p:nvPr>
            <p:ph type="pic" sz="quarter" idx="25" hasCustomPrompt="1"/>
          </p:nvPr>
        </p:nvSpPr>
        <p:spPr>
          <a:xfrm>
            <a:off x="6068511" y="4141056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26" hasCustomPrompt="1"/>
          </p:nvPr>
        </p:nvSpPr>
        <p:spPr>
          <a:xfrm>
            <a:off x="6068511" y="4567578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45" name="Picture Placeholder 13"/>
          <p:cNvSpPr>
            <a:spLocks noGrp="1"/>
          </p:cNvSpPr>
          <p:nvPr>
            <p:ph type="pic" sz="quarter" idx="29" hasCustomPrompt="1"/>
          </p:nvPr>
        </p:nvSpPr>
        <p:spPr>
          <a:xfrm>
            <a:off x="450851" y="2434971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30" hasCustomPrompt="1"/>
          </p:nvPr>
        </p:nvSpPr>
        <p:spPr>
          <a:xfrm>
            <a:off x="450851" y="2008449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35" hasCustomPrompt="1"/>
          </p:nvPr>
        </p:nvSpPr>
        <p:spPr>
          <a:xfrm>
            <a:off x="450851" y="1573983"/>
            <a:ext cx="442800" cy="290512"/>
          </a:xfr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400"/>
            </a:lvl1pPr>
          </a:lstStyle>
          <a:p>
            <a:r>
              <a:rPr lang="en-US" dirty="0" smtClean="0"/>
              <a:t>photo</a:t>
            </a:r>
            <a:endParaRPr lang="en-US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idx="36"/>
          </p:nvPr>
        </p:nvSpPr>
        <p:spPr>
          <a:xfrm>
            <a:off x="457200" y="1085852"/>
            <a:ext cx="8237538" cy="441465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400" b="0" spc="-5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83194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57201" y="1562873"/>
            <a:ext cx="8411198" cy="580913"/>
          </a:xfrm>
          <a:prstGeom prst="rect">
            <a:avLst/>
          </a:prstGeom>
          <a:gradFill flip="none" rotWithShape="1">
            <a:gsLst>
              <a:gs pos="0">
                <a:srgbClr val="E1E1E1"/>
              </a:gs>
              <a:gs pos="100000">
                <a:schemeClr val="bg1"/>
              </a:gs>
              <a:gs pos="50000">
                <a:srgbClr val="E1E1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85868"/>
            <a:ext cx="8237538" cy="477005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400" b="0" spc="-50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1" y="2143768"/>
            <a:ext cx="8411198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469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4691" y="1272408"/>
            <a:ext cx="8411198" cy="580913"/>
          </a:xfrm>
          <a:prstGeom prst="rect">
            <a:avLst/>
          </a:prstGeom>
          <a:gradFill flip="none" rotWithShape="1">
            <a:gsLst>
              <a:gs pos="0">
                <a:srgbClr val="E1E1E1"/>
              </a:gs>
              <a:gs pos="100000">
                <a:schemeClr val="bg1"/>
              </a:gs>
              <a:gs pos="50000">
                <a:srgbClr val="E1E1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345906" y="1993346"/>
            <a:ext cx="8789309" cy="714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4" tIns="45648" rIns="91304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345906" y="2708097"/>
            <a:ext cx="8789309" cy="714751"/>
          </a:xfrm>
          <a:prstGeom prst="rect">
            <a:avLst/>
          </a:prstGeom>
          <a:solidFill>
            <a:srgbClr val="F8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4" tIns="45648" rIns="91304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345906" y="3422848"/>
            <a:ext cx="8789309" cy="714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4" tIns="45648" rIns="91304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345906" y="4137598"/>
            <a:ext cx="8789309" cy="714751"/>
          </a:xfrm>
          <a:prstGeom prst="rect">
            <a:avLst/>
          </a:prstGeom>
          <a:solidFill>
            <a:srgbClr val="F8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4" tIns="45648" rIns="91304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54709" y="1993329"/>
            <a:ext cx="1657771" cy="714750"/>
          </a:xfrm>
        </p:spPr>
        <p:txBody>
          <a:bodyPr lIns="107838" tIns="17973" anchor="t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300" b="0">
                <a:solidFill>
                  <a:srgbClr val="000000"/>
                </a:solidFill>
              </a:defRPr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54709" y="2708078"/>
            <a:ext cx="1657771" cy="714751"/>
          </a:xfrm>
        </p:spPr>
        <p:txBody>
          <a:bodyPr lIns="107838" tIns="17973" anchor="t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300" b="0">
                <a:solidFill>
                  <a:srgbClr val="000000"/>
                </a:solidFill>
              </a:defRPr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354709" y="3422831"/>
            <a:ext cx="1657771" cy="714750"/>
          </a:xfrm>
        </p:spPr>
        <p:txBody>
          <a:bodyPr lIns="107838" tIns="17973" anchor="t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300" b="0">
                <a:solidFill>
                  <a:srgbClr val="000000"/>
                </a:solidFill>
              </a:defRPr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/>
          </p:nvPr>
        </p:nvSpPr>
        <p:spPr>
          <a:xfrm>
            <a:off x="354709" y="4137581"/>
            <a:ext cx="1657771" cy="714750"/>
          </a:xfrm>
        </p:spPr>
        <p:txBody>
          <a:bodyPr lIns="107838" tIns="17973" anchor="t"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1300" b="0">
                <a:solidFill>
                  <a:srgbClr val="000000"/>
                </a:solidFill>
              </a:defRPr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6475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and Tha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85852"/>
            <a:ext cx="6750050" cy="1982151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400" b="0" spc="-50">
                <a:solidFill>
                  <a:schemeClr val="bg1"/>
                </a:solidFill>
              </a:defRPr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7" indent="0">
              <a:buNone/>
              <a:defRPr sz="1600" b="1"/>
            </a:lvl4pPr>
            <a:lvl5pPr marL="1826051" indent="0">
              <a:buNone/>
              <a:defRPr sz="1600" b="1"/>
            </a:lvl5pPr>
            <a:lvl6pPr marL="2282573" indent="0">
              <a:buNone/>
              <a:defRPr sz="1600" b="1"/>
            </a:lvl6pPr>
            <a:lvl7pPr marL="2739093" indent="0">
              <a:buNone/>
              <a:defRPr sz="1600" b="1"/>
            </a:lvl7pPr>
            <a:lvl8pPr marL="3195595" indent="0">
              <a:buNone/>
              <a:defRPr sz="1600" b="1"/>
            </a:lvl8pPr>
            <a:lvl9pPr marL="3652116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0867" y="3068638"/>
            <a:ext cx="2587753" cy="1797050"/>
          </a:xfrm>
          <a:ln>
            <a:noFill/>
          </a:ln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228342" y="3068638"/>
            <a:ext cx="2587753" cy="1797050"/>
          </a:xfrm>
          <a:ln>
            <a:noFill/>
          </a:ln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912384" y="290047"/>
            <a:ext cx="950978" cy="586271"/>
            <a:chOff x="0" y="384"/>
            <a:chExt cx="5760" cy="3551"/>
          </a:xfrm>
          <a:solidFill>
            <a:schemeClr val="bg1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1966" y="633"/>
              <a:ext cx="609" cy="595"/>
            </a:xfrm>
            <a:custGeom>
              <a:avLst/>
              <a:gdLst>
                <a:gd name="T0" fmla="*/ 71 w 88"/>
                <a:gd name="T1" fmla="*/ 0 h 86"/>
                <a:gd name="T2" fmla="*/ 60 w 88"/>
                <a:gd name="T3" fmla="*/ 8 h 86"/>
                <a:gd name="T4" fmla="*/ 72 w 88"/>
                <a:gd name="T5" fmla="*/ 36 h 86"/>
                <a:gd name="T6" fmla="*/ 37 w 88"/>
                <a:gd name="T7" fmla="*/ 72 h 86"/>
                <a:gd name="T8" fmla="*/ 9 w 88"/>
                <a:gd name="T9" fmla="*/ 59 h 86"/>
                <a:gd name="T10" fmla="*/ 5 w 88"/>
                <a:gd name="T11" fmla="*/ 63 h 86"/>
                <a:gd name="T12" fmla="*/ 0 w 88"/>
                <a:gd name="T13" fmla="*/ 71 h 86"/>
                <a:gd name="T14" fmla="*/ 37 w 88"/>
                <a:gd name="T15" fmla="*/ 86 h 86"/>
                <a:gd name="T16" fmla="*/ 88 w 88"/>
                <a:gd name="T17" fmla="*/ 36 h 86"/>
                <a:gd name="T18" fmla="*/ 71 w 88"/>
                <a:gd name="T1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6">
                  <a:moveTo>
                    <a:pt x="71" y="0"/>
                  </a:moveTo>
                  <a:cubicBezTo>
                    <a:pt x="67" y="2"/>
                    <a:pt x="63" y="5"/>
                    <a:pt x="60" y="8"/>
                  </a:cubicBezTo>
                  <a:cubicBezTo>
                    <a:pt x="68" y="15"/>
                    <a:pt x="72" y="25"/>
                    <a:pt x="72" y="36"/>
                  </a:cubicBezTo>
                  <a:cubicBezTo>
                    <a:pt x="72" y="56"/>
                    <a:pt x="58" y="72"/>
                    <a:pt x="37" y="72"/>
                  </a:cubicBezTo>
                  <a:cubicBezTo>
                    <a:pt x="25" y="72"/>
                    <a:pt x="15" y="67"/>
                    <a:pt x="9" y="59"/>
                  </a:cubicBezTo>
                  <a:cubicBezTo>
                    <a:pt x="8" y="60"/>
                    <a:pt x="6" y="62"/>
                    <a:pt x="5" y="63"/>
                  </a:cubicBezTo>
                  <a:cubicBezTo>
                    <a:pt x="3" y="66"/>
                    <a:pt x="2" y="68"/>
                    <a:pt x="0" y="71"/>
                  </a:cubicBezTo>
                  <a:cubicBezTo>
                    <a:pt x="9" y="80"/>
                    <a:pt x="22" y="86"/>
                    <a:pt x="37" y="86"/>
                  </a:cubicBezTo>
                  <a:cubicBezTo>
                    <a:pt x="65" y="86"/>
                    <a:pt x="88" y="64"/>
                    <a:pt x="88" y="36"/>
                  </a:cubicBezTo>
                  <a:cubicBezTo>
                    <a:pt x="88" y="22"/>
                    <a:pt x="81" y="9"/>
                    <a:pt x="7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1682" y="1491"/>
              <a:ext cx="263" cy="616"/>
            </a:xfrm>
            <a:custGeom>
              <a:avLst/>
              <a:gdLst>
                <a:gd name="T0" fmla="*/ 22 w 38"/>
                <a:gd name="T1" fmla="*/ 41 h 89"/>
                <a:gd name="T2" fmla="*/ 0 w 38"/>
                <a:gd name="T3" fmla="*/ 75 h 89"/>
                <a:gd name="T4" fmla="*/ 0 w 38"/>
                <a:gd name="T5" fmla="*/ 83 h 89"/>
                <a:gd name="T6" fmla="*/ 0 w 38"/>
                <a:gd name="T7" fmla="*/ 89 h 89"/>
                <a:gd name="T8" fmla="*/ 38 w 38"/>
                <a:gd name="T9" fmla="*/ 41 h 89"/>
                <a:gd name="T10" fmla="*/ 14 w 38"/>
                <a:gd name="T11" fmla="*/ 0 h 89"/>
                <a:gd name="T12" fmla="*/ 10 w 38"/>
                <a:gd name="T13" fmla="*/ 14 h 89"/>
                <a:gd name="T14" fmla="*/ 22 w 38"/>
                <a:gd name="T15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9">
                  <a:moveTo>
                    <a:pt x="22" y="41"/>
                  </a:moveTo>
                  <a:cubicBezTo>
                    <a:pt x="22" y="56"/>
                    <a:pt x="14" y="69"/>
                    <a:pt x="0" y="75"/>
                  </a:cubicBezTo>
                  <a:cubicBezTo>
                    <a:pt x="0" y="77"/>
                    <a:pt x="0" y="80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22" y="84"/>
                    <a:pt x="38" y="65"/>
                    <a:pt x="38" y="41"/>
                  </a:cubicBezTo>
                  <a:cubicBezTo>
                    <a:pt x="38" y="24"/>
                    <a:pt x="28" y="9"/>
                    <a:pt x="14" y="0"/>
                  </a:cubicBezTo>
                  <a:cubicBezTo>
                    <a:pt x="13" y="4"/>
                    <a:pt x="11" y="9"/>
                    <a:pt x="10" y="14"/>
                  </a:cubicBezTo>
                  <a:cubicBezTo>
                    <a:pt x="18" y="20"/>
                    <a:pt x="22" y="31"/>
                    <a:pt x="22" y="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710" y="2336"/>
              <a:ext cx="485" cy="664"/>
            </a:xfrm>
            <a:custGeom>
              <a:avLst/>
              <a:gdLst>
                <a:gd name="T0" fmla="*/ 19 w 70"/>
                <a:gd name="T1" fmla="*/ 14 h 96"/>
                <a:gd name="T2" fmla="*/ 55 w 70"/>
                <a:gd name="T3" fmla="*/ 49 h 96"/>
                <a:gd name="T4" fmla="*/ 29 w 70"/>
                <a:gd name="T5" fmla="*/ 84 h 96"/>
                <a:gd name="T6" fmla="*/ 37 w 70"/>
                <a:gd name="T7" fmla="*/ 96 h 96"/>
                <a:gd name="T8" fmla="*/ 70 w 70"/>
                <a:gd name="T9" fmla="*/ 49 h 96"/>
                <a:gd name="T10" fmla="*/ 19 w 70"/>
                <a:gd name="T11" fmla="*/ 0 h 96"/>
                <a:gd name="T12" fmla="*/ 0 w 70"/>
                <a:gd name="T13" fmla="*/ 4 h 96"/>
                <a:gd name="T14" fmla="*/ 3 w 70"/>
                <a:gd name="T15" fmla="*/ 17 h 96"/>
                <a:gd name="T16" fmla="*/ 19 w 70"/>
                <a:gd name="T17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96">
                  <a:moveTo>
                    <a:pt x="19" y="14"/>
                  </a:moveTo>
                  <a:cubicBezTo>
                    <a:pt x="42" y="14"/>
                    <a:pt x="55" y="30"/>
                    <a:pt x="55" y="49"/>
                  </a:cubicBezTo>
                  <a:cubicBezTo>
                    <a:pt x="55" y="66"/>
                    <a:pt x="45" y="80"/>
                    <a:pt x="29" y="84"/>
                  </a:cubicBezTo>
                  <a:cubicBezTo>
                    <a:pt x="31" y="88"/>
                    <a:pt x="34" y="92"/>
                    <a:pt x="37" y="96"/>
                  </a:cubicBezTo>
                  <a:cubicBezTo>
                    <a:pt x="56" y="89"/>
                    <a:pt x="70" y="71"/>
                    <a:pt x="70" y="49"/>
                  </a:cubicBezTo>
                  <a:cubicBezTo>
                    <a:pt x="70" y="22"/>
                    <a:pt x="47" y="0"/>
                    <a:pt x="19" y="0"/>
                  </a:cubicBezTo>
                  <a:cubicBezTo>
                    <a:pt x="12" y="0"/>
                    <a:pt x="6" y="1"/>
                    <a:pt x="0" y="4"/>
                  </a:cubicBezTo>
                  <a:cubicBezTo>
                    <a:pt x="0" y="8"/>
                    <a:pt x="1" y="13"/>
                    <a:pt x="3" y="17"/>
                  </a:cubicBezTo>
                  <a:cubicBezTo>
                    <a:pt x="7" y="15"/>
                    <a:pt x="13" y="14"/>
                    <a:pt x="19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157" y="2350"/>
              <a:ext cx="512" cy="671"/>
            </a:xfrm>
            <a:custGeom>
              <a:avLst/>
              <a:gdLst>
                <a:gd name="T0" fmla="*/ 58 w 74"/>
                <a:gd name="T1" fmla="*/ 0 h 97"/>
                <a:gd name="T2" fmla="*/ 58 w 74"/>
                <a:gd name="T3" fmla="*/ 57 h 97"/>
                <a:gd name="T4" fmla="*/ 37 w 74"/>
                <a:gd name="T5" fmla="*/ 83 h 97"/>
                <a:gd name="T6" fmla="*/ 16 w 74"/>
                <a:gd name="T7" fmla="*/ 57 h 97"/>
                <a:gd name="T8" fmla="*/ 16 w 74"/>
                <a:gd name="T9" fmla="*/ 0 h 97"/>
                <a:gd name="T10" fmla="*/ 0 w 74"/>
                <a:gd name="T11" fmla="*/ 0 h 97"/>
                <a:gd name="T12" fmla="*/ 0 w 74"/>
                <a:gd name="T13" fmla="*/ 60 h 97"/>
                <a:gd name="T14" fmla="*/ 37 w 74"/>
                <a:gd name="T15" fmla="*/ 97 h 97"/>
                <a:gd name="T16" fmla="*/ 74 w 74"/>
                <a:gd name="T17" fmla="*/ 60 h 97"/>
                <a:gd name="T18" fmla="*/ 74 w 74"/>
                <a:gd name="T19" fmla="*/ 0 h 97"/>
                <a:gd name="T20" fmla="*/ 58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58" y="0"/>
                  </a:moveTo>
                  <a:cubicBezTo>
                    <a:pt x="58" y="57"/>
                    <a:pt x="58" y="57"/>
                    <a:pt x="58" y="57"/>
                  </a:cubicBezTo>
                  <a:cubicBezTo>
                    <a:pt x="58" y="71"/>
                    <a:pt x="54" y="83"/>
                    <a:pt x="37" y="83"/>
                  </a:cubicBezTo>
                  <a:cubicBezTo>
                    <a:pt x="20" y="83"/>
                    <a:pt x="16" y="71"/>
                    <a:pt x="16" y="5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81"/>
                    <a:pt x="13" y="97"/>
                    <a:pt x="37" y="97"/>
                  </a:cubicBezTo>
                  <a:cubicBezTo>
                    <a:pt x="61" y="97"/>
                    <a:pt x="74" y="81"/>
                    <a:pt x="74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5"/>
            <p:cNvSpPr>
              <a:spLocks noChangeArrowheads="1"/>
            </p:cNvSpPr>
            <p:nvPr/>
          </p:nvSpPr>
          <p:spPr bwMode="auto">
            <a:xfrm>
              <a:off x="4874" y="1450"/>
              <a:ext cx="111" cy="6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0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2430" y="2350"/>
              <a:ext cx="505" cy="657"/>
            </a:xfrm>
            <a:custGeom>
              <a:avLst/>
              <a:gdLst>
                <a:gd name="T0" fmla="*/ 26 w 73"/>
                <a:gd name="T1" fmla="*/ 0 h 95"/>
                <a:gd name="T2" fmla="*/ 53 w 73"/>
                <a:gd name="T3" fmla="*/ 4 h 95"/>
                <a:gd name="T4" fmla="*/ 65 w 73"/>
                <a:gd name="T5" fmla="*/ 27 h 95"/>
                <a:gd name="T6" fmla="*/ 42 w 73"/>
                <a:gd name="T7" fmla="*/ 53 h 95"/>
                <a:gd name="T8" fmla="*/ 73 w 73"/>
                <a:gd name="T9" fmla="*/ 95 h 95"/>
                <a:gd name="T10" fmla="*/ 55 w 73"/>
                <a:gd name="T11" fmla="*/ 95 h 95"/>
                <a:gd name="T12" fmla="*/ 26 w 73"/>
                <a:gd name="T13" fmla="*/ 55 h 95"/>
                <a:gd name="T14" fmla="*/ 16 w 73"/>
                <a:gd name="T15" fmla="*/ 55 h 95"/>
                <a:gd name="T16" fmla="*/ 16 w 73"/>
                <a:gd name="T17" fmla="*/ 95 h 95"/>
                <a:gd name="T18" fmla="*/ 0 w 73"/>
                <a:gd name="T19" fmla="*/ 95 h 95"/>
                <a:gd name="T20" fmla="*/ 0 w 73"/>
                <a:gd name="T21" fmla="*/ 0 h 95"/>
                <a:gd name="T22" fmla="*/ 26 w 73"/>
                <a:gd name="T23" fmla="*/ 0 h 95"/>
                <a:gd name="T24" fmla="*/ 16 w 73"/>
                <a:gd name="T25" fmla="*/ 42 h 95"/>
                <a:gd name="T26" fmla="*/ 23 w 73"/>
                <a:gd name="T27" fmla="*/ 42 h 95"/>
                <a:gd name="T28" fmla="*/ 50 w 73"/>
                <a:gd name="T29" fmla="*/ 27 h 95"/>
                <a:gd name="T30" fmla="*/ 22 w 73"/>
                <a:gd name="T31" fmla="*/ 13 h 95"/>
                <a:gd name="T32" fmla="*/ 16 w 73"/>
                <a:gd name="T33" fmla="*/ 13 h 95"/>
                <a:gd name="T34" fmla="*/ 16 w 73"/>
                <a:gd name="T3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95">
                  <a:moveTo>
                    <a:pt x="26" y="0"/>
                  </a:moveTo>
                  <a:cubicBezTo>
                    <a:pt x="35" y="0"/>
                    <a:pt x="45" y="0"/>
                    <a:pt x="53" y="4"/>
                  </a:cubicBezTo>
                  <a:cubicBezTo>
                    <a:pt x="61" y="9"/>
                    <a:pt x="65" y="18"/>
                    <a:pt x="65" y="27"/>
                  </a:cubicBezTo>
                  <a:cubicBezTo>
                    <a:pt x="65" y="40"/>
                    <a:pt x="56" y="52"/>
                    <a:pt x="42" y="53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16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35" y="42"/>
                    <a:pt x="50" y="42"/>
                    <a:pt x="50" y="27"/>
                  </a:cubicBezTo>
                  <a:cubicBezTo>
                    <a:pt x="50" y="12"/>
                    <a:pt x="34" y="13"/>
                    <a:pt x="22" y="13"/>
                  </a:cubicBezTo>
                  <a:cubicBezTo>
                    <a:pt x="16" y="13"/>
                    <a:pt x="16" y="13"/>
                    <a:pt x="16" y="13"/>
                  </a:cubicBezTo>
                  <a:lnTo>
                    <a:pt x="1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auto">
            <a:xfrm>
              <a:off x="2804" y="550"/>
              <a:ext cx="498" cy="665"/>
            </a:xfrm>
            <a:custGeom>
              <a:avLst/>
              <a:gdLst>
                <a:gd name="T0" fmla="*/ 25 w 72"/>
                <a:gd name="T1" fmla="*/ 0 h 96"/>
                <a:gd name="T2" fmla="*/ 52 w 72"/>
                <a:gd name="T3" fmla="*/ 5 h 96"/>
                <a:gd name="T4" fmla="*/ 65 w 72"/>
                <a:gd name="T5" fmla="*/ 28 h 96"/>
                <a:gd name="T6" fmla="*/ 41 w 72"/>
                <a:gd name="T7" fmla="*/ 54 h 96"/>
                <a:gd name="T8" fmla="*/ 72 w 72"/>
                <a:gd name="T9" fmla="*/ 96 h 96"/>
                <a:gd name="T10" fmla="*/ 54 w 72"/>
                <a:gd name="T11" fmla="*/ 96 h 96"/>
                <a:gd name="T12" fmla="*/ 26 w 72"/>
                <a:gd name="T13" fmla="*/ 55 h 96"/>
                <a:gd name="T14" fmla="*/ 15 w 72"/>
                <a:gd name="T15" fmla="*/ 55 h 96"/>
                <a:gd name="T16" fmla="*/ 15 w 72"/>
                <a:gd name="T17" fmla="*/ 96 h 96"/>
                <a:gd name="T18" fmla="*/ 0 w 72"/>
                <a:gd name="T19" fmla="*/ 96 h 96"/>
                <a:gd name="T20" fmla="*/ 0 w 72"/>
                <a:gd name="T21" fmla="*/ 0 h 96"/>
                <a:gd name="T22" fmla="*/ 25 w 72"/>
                <a:gd name="T23" fmla="*/ 0 h 96"/>
                <a:gd name="T24" fmla="*/ 15 w 72"/>
                <a:gd name="T25" fmla="*/ 43 h 96"/>
                <a:gd name="T26" fmla="*/ 22 w 72"/>
                <a:gd name="T27" fmla="*/ 43 h 96"/>
                <a:gd name="T28" fmla="*/ 50 w 72"/>
                <a:gd name="T29" fmla="*/ 28 h 96"/>
                <a:gd name="T30" fmla="*/ 22 w 72"/>
                <a:gd name="T31" fmla="*/ 14 h 96"/>
                <a:gd name="T32" fmla="*/ 15 w 72"/>
                <a:gd name="T33" fmla="*/ 14 h 96"/>
                <a:gd name="T34" fmla="*/ 15 w 72"/>
                <a:gd name="T35" fmla="*/ 4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6">
                  <a:moveTo>
                    <a:pt x="25" y="0"/>
                  </a:moveTo>
                  <a:cubicBezTo>
                    <a:pt x="34" y="0"/>
                    <a:pt x="44" y="1"/>
                    <a:pt x="52" y="5"/>
                  </a:cubicBezTo>
                  <a:cubicBezTo>
                    <a:pt x="60" y="10"/>
                    <a:pt x="65" y="19"/>
                    <a:pt x="65" y="28"/>
                  </a:cubicBezTo>
                  <a:cubicBezTo>
                    <a:pt x="65" y="41"/>
                    <a:pt x="55" y="53"/>
                    <a:pt x="41" y="54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15" y="43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35" y="43"/>
                    <a:pt x="50" y="43"/>
                    <a:pt x="50" y="28"/>
                  </a:cubicBezTo>
                  <a:cubicBezTo>
                    <a:pt x="50" y="13"/>
                    <a:pt x="34" y="14"/>
                    <a:pt x="22" y="14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1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4140" y="557"/>
              <a:ext cx="554" cy="658"/>
            </a:xfrm>
            <a:custGeom>
              <a:avLst/>
              <a:gdLst>
                <a:gd name="T0" fmla="*/ 15 w 80"/>
                <a:gd name="T1" fmla="*/ 81 h 95"/>
                <a:gd name="T2" fmla="*/ 24 w 80"/>
                <a:gd name="T3" fmla="*/ 81 h 95"/>
                <a:gd name="T4" fmla="*/ 65 w 80"/>
                <a:gd name="T5" fmla="*/ 47 h 95"/>
                <a:gd name="T6" fmla="*/ 24 w 80"/>
                <a:gd name="T7" fmla="*/ 13 h 95"/>
                <a:gd name="T8" fmla="*/ 15 w 80"/>
                <a:gd name="T9" fmla="*/ 13 h 95"/>
                <a:gd name="T10" fmla="*/ 15 w 80"/>
                <a:gd name="T11" fmla="*/ 81 h 95"/>
                <a:gd name="T12" fmla="*/ 0 w 80"/>
                <a:gd name="T13" fmla="*/ 0 h 95"/>
                <a:gd name="T14" fmla="*/ 26 w 80"/>
                <a:gd name="T15" fmla="*/ 0 h 95"/>
                <a:gd name="T16" fmla="*/ 80 w 80"/>
                <a:gd name="T17" fmla="*/ 47 h 95"/>
                <a:gd name="T18" fmla="*/ 25 w 80"/>
                <a:gd name="T19" fmla="*/ 95 h 95"/>
                <a:gd name="T20" fmla="*/ 0 w 80"/>
                <a:gd name="T21" fmla="*/ 95 h 95"/>
                <a:gd name="T22" fmla="*/ 0 w 80"/>
                <a:gd name="T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5">
                  <a:moveTo>
                    <a:pt x="15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45" y="81"/>
                    <a:pt x="65" y="74"/>
                    <a:pt x="65" y="47"/>
                  </a:cubicBezTo>
                  <a:cubicBezTo>
                    <a:pt x="65" y="19"/>
                    <a:pt x="45" y="13"/>
                    <a:pt x="2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81"/>
                    <a:pt x="15" y="81"/>
                    <a:pt x="15" y="81"/>
                  </a:cubicBezTo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56" y="0"/>
                    <a:pt x="80" y="14"/>
                    <a:pt x="80" y="47"/>
                  </a:cubicBezTo>
                  <a:cubicBezTo>
                    <a:pt x="80" y="80"/>
                    <a:pt x="56" y="95"/>
                    <a:pt x="25" y="95"/>
                  </a:cubicBezTo>
                  <a:cubicBezTo>
                    <a:pt x="0" y="95"/>
                    <a:pt x="0" y="95"/>
                    <a:pt x="0" y="95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5227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9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4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8"/>
            <p:cNvSpPr>
              <a:spLocks/>
            </p:cNvSpPr>
            <p:nvPr/>
          </p:nvSpPr>
          <p:spPr bwMode="auto">
            <a:xfrm>
              <a:off x="588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8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3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9"/>
            <p:cNvSpPr>
              <a:spLocks noEditPoints="1"/>
            </p:cNvSpPr>
            <p:nvPr/>
          </p:nvSpPr>
          <p:spPr bwMode="auto">
            <a:xfrm>
              <a:off x="1239" y="384"/>
              <a:ext cx="3441" cy="3551"/>
            </a:xfrm>
            <a:custGeom>
              <a:avLst/>
              <a:gdLst>
                <a:gd name="T0" fmla="*/ 491 w 497"/>
                <a:gd name="T1" fmla="*/ 443 h 513"/>
                <a:gd name="T2" fmla="*/ 491 w 497"/>
                <a:gd name="T3" fmla="*/ 443 h 513"/>
                <a:gd name="T4" fmla="*/ 487 w 497"/>
                <a:gd name="T5" fmla="*/ 439 h 513"/>
                <a:gd name="T6" fmla="*/ 320 w 497"/>
                <a:gd name="T7" fmla="*/ 498 h 513"/>
                <a:gd name="T8" fmla="*/ 135 w 497"/>
                <a:gd name="T9" fmla="*/ 423 h 513"/>
                <a:gd name="T10" fmla="*/ 59 w 497"/>
                <a:gd name="T11" fmla="*/ 243 h 513"/>
                <a:gd name="T12" fmla="*/ 106 w 497"/>
                <a:gd name="T13" fmla="*/ 97 h 513"/>
                <a:gd name="T14" fmla="*/ 227 w 497"/>
                <a:gd name="T15" fmla="*/ 4 h 513"/>
                <a:gd name="T16" fmla="*/ 225 w 497"/>
                <a:gd name="T17" fmla="*/ 0 h 513"/>
                <a:gd name="T18" fmla="*/ 167 w 497"/>
                <a:gd name="T19" fmla="*/ 29 h 513"/>
                <a:gd name="T20" fmla="*/ 142 w 497"/>
                <a:gd name="T21" fmla="*/ 23 h 513"/>
                <a:gd name="T22" fmla="*/ 91 w 497"/>
                <a:gd name="T23" fmla="*/ 72 h 513"/>
                <a:gd name="T24" fmla="*/ 98 w 497"/>
                <a:gd name="T25" fmla="*/ 98 h 513"/>
                <a:gd name="T26" fmla="*/ 69 w 497"/>
                <a:gd name="T27" fmla="*/ 155 h 513"/>
                <a:gd name="T28" fmla="*/ 51 w 497"/>
                <a:gd name="T29" fmla="*/ 152 h 513"/>
                <a:gd name="T30" fmla="*/ 0 w 497"/>
                <a:gd name="T31" fmla="*/ 201 h 513"/>
                <a:gd name="T32" fmla="*/ 51 w 497"/>
                <a:gd name="T33" fmla="*/ 251 h 513"/>
                <a:gd name="T34" fmla="*/ 54 w 497"/>
                <a:gd name="T35" fmla="*/ 251 h 513"/>
                <a:gd name="T36" fmla="*/ 58 w 497"/>
                <a:gd name="T37" fmla="*/ 291 h 513"/>
                <a:gd name="T38" fmla="*/ 36 w 497"/>
                <a:gd name="T39" fmla="*/ 331 h 513"/>
                <a:gd name="T40" fmla="*/ 87 w 497"/>
                <a:gd name="T41" fmla="*/ 381 h 513"/>
                <a:gd name="T42" fmla="*/ 94 w 497"/>
                <a:gd name="T43" fmla="*/ 380 h 513"/>
                <a:gd name="T44" fmla="*/ 132 w 497"/>
                <a:gd name="T45" fmla="*/ 427 h 513"/>
                <a:gd name="T46" fmla="*/ 146 w 497"/>
                <a:gd name="T47" fmla="*/ 440 h 513"/>
                <a:gd name="T48" fmla="*/ 140 w 497"/>
                <a:gd name="T49" fmla="*/ 448 h 513"/>
                <a:gd name="T50" fmla="*/ 320 w 497"/>
                <a:gd name="T51" fmla="*/ 513 h 513"/>
                <a:gd name="T52" fmla="*/ 497 w 497"/>
                <a:gd name="T53" fmla="*/ 450 h 513"/>
                <a:gd name="T54" fmla="*/ 491 w 497"/>
                <a:gd name="T55" fmla="*/ 443 h 513"/>
                <a:gd name="T56" fmla="*/ 142 w 497"/>
                <a:gd name="T57" fmla="*/ 37 h 513"/>
                <a:gd name="T58" fmla="*/ 155 w 497"/>
                <a:gd name="T59" fmla="*/ 39 h 513"/>
                <a:gd name="T60" fmla="*/ 108 w 497"/>
                <a:gd name="T61" fmla="*/ 85 h 513"/>
                <a:gd name="T62" fmla="*/ 106 w 497"/>
                <a:gd name="T63" fmla="*/ 72 h 513"/>
                <a:gd name="T64" fmla="*/ 142 w 497"/>
                <a:gd name="T65" fmla="*/ 37 h 513"/>
                <a:gd name="T66" fmla="*/ 15 w 497"/>
                <a:gd name="T67" fmla="*/ 201 h 513"/>
                <a:gd name="T68" fmla="*/ 51 w 497"/>
                <a:gd name="T69" fmla="*/ 166 h 513"/>
                <a:gd name="T70" fmla="*/ 65 w 497"/>
                <a:gd name="T71" fmla="*/ 168 h 513"/>
                <a:gd name="T72" fmla="*/ 54 w 497"/>
                <a:gd name="T73" fmla="*/ 237 h 513"/>
                <a:gd name="T74" fmla="*/ 51 w 497"/>
                <a:gd name="T75" fmla="*/ 237 h 513"/>
                <a:gd name="T76" fmla="*/ 15 w 497"/>
                <a:gd name="T77" fmla="*/ 201 h 513"/>
                <a:gd name="T78" fmla="*/ 52 w 497"/>
                <a:gd name="T79" fmla="*/ 331 h 513"/>
                <a:gd name="T80" fmla="*/ 61 w 497"/>
                <a:gd name="T81" fmla="*/ 306 h 513"/>
                <a:gd name="T82" fmla="*/ 86 w 497"/>
                <a:gd name="T83" fmla="*/ 367 h 513"/>
                <a:gd name="T84" fmla="*/ 52 w 497"/>
                <a:gd name="T85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7" h="513">
                  <a:moveTo>
                    <a:pt x="491" y="443"/>
                  </a:moveTo>
                  <a:cubicBezTo>
                    <a:pt x="491" y="443"/>
                    <a:pt x="491" y="443"/>
                    <a:pt x="491" y="443"/>
                  </a:cubicBezTo>
                  <a:cubicBezTo>
                    <a:pt x="487" y="439"/>
                    <a:pt x="487" y="439"/>
                    <a:pt x="487" y="439"/>
                  </a:cubicBezTo>
                  <a:cubicBezTo>
                    <a:pt x="440" y="477"/>
                    <a:pt x="381" y="498"/>
                    <a:pt x="320" y="498"/>
                  </a:cubicBezTo>
                  <a:cubicBezTo>
                    <a:pt x="250" y="498"/>
                    <a:pt x="185" y="471"/>
                    <a:pt x="135" y="423"/>
                  </a:cubicBezTo>
                  <a:cubicBezTo>
                    <a:pt x="86" y="375"/>
                    <a:pt x="59" y="311"/>
                    <a:pt x="59" y="243"/>
                  </a:cubicBezTo>
                  <a:cubicBezTo>
                    <a:pt x="59" y="190"/>
                    <a:pt x="75" y="140"/>
                    <a:pt x="106" y="97"/>
                  </a:cubicBezTo>
                  <a:cubicBezTo>
                    <a:pt x="136" y="54"/>
                    <a:pt x="178" y="23"/>
                    <a:pt x="227" y="4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4" y="7"/>
                    <a:pt x="185" y="17"/>
                    <a:pt x="167" y="29"/>
                  </a:cubicBezTo>
                  <a:cubicBezTo>
                    <a:pt x="160" y="25"/>
                    <a:pt x="151" y="23"/>
                    <a:pt x="142" y="23"/>
                  </a:cubicBezTo>
                  <a:cubicBezTo>
                    <a:pt x="114" y="23"/>
                    <a:pt x="91" y="45"/>
                    <a:pt x="91" y="72"/>
                  </a:cubicBezTo>
                  <a:cubicBezTo>
                    <a:pt x="91" y="82"/>
                    <a:pt x="93" y="91"/>
                    <a:pt x="98" y="98"/>
                  </a:cubicBezTo>
                  <a:cubicBezTo>
                    <a:pt x="86" y="116"/>
                    <a:pt x="76" y="135"/>
                    <a:pt x="69" y="155"/>
                  </a:cubicBezTo>
                  <a:cubicBezTo>
                    <a:pt x="63" y="153"/>
                    <a:pt x="57" y="152"/>
                    <a:pt x="51" y="152"/>
                  </a:cubicBezTo>
                  <a:cubicBezTo>
                    <a:pt x="23" y="152"/>
                    <a:pt x="0" y="174"/>
                    <a:pt x="0" y="201"/>
                  </a:cubicBezTo>
                  <a:cubicBezTo>
                    <a:pt x="0" y="230"/>
                    <a:pt x="23" y="251"/>
                    <a:pt x="51" y="251"/>
                  </a:cubicBezTo>
                  <a:cubicBezTo>
                    <a:pt x="52" y="251"/>
                    <a:pt x="53" y="251"/>
                    <a:pt x="54" y="251"/>
                  </a:cubicBezTo>
                  <a:cubicBezTo>
                    <a:pt x="54" y="264"/>
                    <a:pt x="56" y="278"/>
                    <a:pt x="58" y="291"/>
                  </a:cubicBezTo>
                  <a:cubicBezTo>
                    <a:pt x="45" y="300"/>
                    <a:pt x="36" y="315"/>
                    <a:pt x="36" y="331"/>
                  </a:cubicBezTo>
                  <a:cubicBezTo>
                    <a:pt x="36" y="360"/>
                    <a:pt x="59" y="381"/>
                    <a:pt x="87" y="381"/>
                  </a:cubicBezTo>
                  <a:cubicBezTo>
                    <a:pt x="90" y="381"/>
                    <a:pt x="92" y="381"/>
                    <a:pt x="94" y="380"/>
                  </a:cubicBezTo>
                  <a:cubicBezTo>
                    <a:pt x="104" y="397"/>
                    <a:pt x="117" y="413"/>
                    <a:pt x="132" y="427"/>
                  </a:cubicBezTo>
                  <a:cubicBezTo>
                    <a:pt x="136" y="431"/>
                    <a:pt x="141" y="436"/>
                    <a:pt x="146" y="440"/>
                  </a:cubicBezTo>
                  <a:cubicBezTo>
                    <a:pt x="140" y="448"/>
                    <a:pt x="140" y="448"/>
                    <a:pt x="140" y="448"/>
                  </a:cubicBezTo>
                  <a:cubicBezTo>
                    <a:pt x="190" y="490"/>
                    <a:pt x="254" y="513"/>
                    <a:pt x="320" y="513"/>
                  </a:cubicBezTo>
                  <a:cubicBezTo>
                    <a:pt x="385" y="513"/>
                    <a:pt x="448" y="491"/>
                    <a:pt x="497" y="450"/>
                  </a:cubicBezTo>
                  <a:lnTo>
                    <a:pt x="491" y="443"/>
                  </a:lnTo>
                  <a:close/>
                  <a:moveTo>
                    <a:pt x="142" y="37"/>
                  </a:moveTo>
                  <a:cubicBezTo>
                    <a:pt x="147" y="37"/>
                    <a:pt x="151" y="37"/>
                    <a:pt x="155" y="39"/>
                  </a:cubicBezTo>
                  <a:cubicBezTo>
                    <a:pt x="137" y="52"/>
                    <a:pt x="122" y="67"/>
                    <a:pt x="108" y="85"/>
                  </a:cubicBezTo>
                  <a:cubicBezTo>
                    <a:pt x="107" y="81"/>
                    <a:pt x="106" y="77"/>
                    <a:pt x="106" y="72"/>
                  </a:cubicBezTo>
                  <a:cubicBezTo>
                    <a:pt x="106" y="53"/>
                    <a:pt x="119" y="37"/>
                    <a:pt x="142" y="37"/>
                  </a:cubicBezTo>
                  <a:close/>
                  <a:moveTo>
                    <a:pt x="15" y="201"/>
                  </a:moveTo>
                  <a:cubicBezTo>
                    <a:pt x="15" y="183"/>
                    <a:pt x="28" y="166"/>
                    <a:pt x="51" y="166"/>
                  </a:cubicBezTo>
                  <a:cubicBezTo>
                    <a:pt x="56" y="166"/>
                    <a:pt x="61" y="167"/>
                    <a:pt x="65" y="168"/>
                  </a:cubicBezTo>
                  <a:cubicBezTo>
                    <a:pt x="58" y="190"/>
                    <a:pt x="54" y="213"/>
                    <a:pt x="54" y="237"/>
                  </a:cubicBezTo>
                  <a:cubicBezTo>
                    <a:pt x="53" y="237"/>
                    <a:pt x="52" y="237"/>
                    <a:pt x="51" y="237"/>
                  </a:cubicBezTo>
                  <a:cubicBezTo>
                    <a:pt x="30" y="237"/>
                    <a:pt x="15" y="221"/>
                    <a:pt x="15" y="201"/>
                  </a:cubicBezTo>
                  <a:close/>
                  <a:moveTo>
                    <a:pt x="52" y="331"/>
                  </a:moveTo>
                  <a:cubicBezTo>
                    <a:pt x="52" y="322"/>
                    <a:pt x="55" y="313"/>
                    <a:pt x="61" y="306"/>
                  </a:cubicBezTo>
                  <a:cubicBezTo>
                    <a:pt x="67" y="327"/>
                    <a:pt x="75" y="348"/>
                    <a:pt x="86" y="367"/>
                  </a:cubicBezTo>
                  <a:cubicBezTo>
                    <a:pt x="66" y="366"/>
                    <a:pt x="52" y="350"/>
                    <a:pt x="52" y="3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2956" y="1436"/>
              <a:ext cx="706" cy="685"/>
            </a:xfrm>
            <a:custGeom>
              <a:avLst/>
              <a:gdLst>
                <a:gd name="T0" fmla="*/ 87 w 102"/>
                <a:gd name="T1" fmla="*/ 49 h 99"/>
                <a:gd name="T2" fmla="*/ 51 w 102"/>
                <a:gd name="T3" fmla="*/ 14 h 99"/>
                <a:gd name="T4" fmla="*/ 16 w 102"/>
                <a:gd name="T5" fmla="*/ 49 h 99"/>
                <a:gd name="T6" fmla="*/ 51 w 102"/>
                <a:gd name="T7" fmla="*/ 85 h 99"/>
                <a:gd name="T8" fmla="*/ 87 w 102"/>
                <a:gd name="T9" fmla="*/ 49 h 99"/>
                <a:gd name="T10" fmla="*/ 102 w 102"/>
                <a:gd name="T11" fmla="*/ 49 h 99"/>
                <a:gd name="T12" fmla="*/ 51 w 102"/>
                <a:gd name="T13" fmla="*/ 99 h 99"/>
                <a:gd name="T14" fmla="*/ 0 w 102"/>
                <a:gd name="T15" fmla="*/ 49 h 99"/>
                <a:gd name="T16" fmla="*/ 51 w 102"/>
                <a:gd name="T17" fmla="*/ 0 h 99"/>
                <a:gd name="T18" fmla="*/ 102 w 102"/>
                <a:gd name="T19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99">
                  <a:moveTo>
                    <a:pt x="87" y="49"/>
                  </a:moveTo>
                  <a:cubicBezTo>
                    <a:pt x="87" y="31"/>
                    <a:pt x="74" y="14"/>
                    <a:pt x="51" y="14"/>
                  </a:cubicBezTo>
                  <a:cubicBezTo>
                    <a:pt x="28" y="14"/>
                    <a:pt x="16" y="31"/>
                    <a:pt x="16" y="49"/>
                  </a:cubicBezTo>
                  <a:cubicBezTo>
                    <a:pt x="16" y="69"/>
                    <a:pt x="30" y="85"/>
                    <a:pt x="51" y="85"/>
                  </a:cubicBezTo>
                  <a:cubicBezTo>
                    <a:pt x="72" y="85"/>
                    <a:pt x="87" y="69"/>
                    <a:pt x="87" y="49"/>
                  </a:cubicBezTo>
                  <a:moveTo>
                    <a:pt x="102" y="49"/>
                  </a:moveTo>
                  <a:cubicBezTo>
                    <a:pt x="102" y="78"/>
                    <a:pt x="79" y="99"/>
                    <a:pt x="51" y="99"/>
                  </a:cubicBezTo>
                  <a:cubicBezTo>
                    <a:pt x="23" y="99"/>
                    <a:pt x="0" y="78"/>
                    <a:pt x="0" y="49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5618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0" cy="598620"/>
          </a:xfrm>
        </p:spPr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7190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1" cy="598620"/>
          </a:xfrm>
        </p:spPr>
        <p:txBody>
          <a:bodyPr/>
          <a:lstStyle>
            <a:lvl1pPr>
              <a:defRPr>
                <a:solidFill>
                  <a:srgbClr val="35478B"/>
                </a:solidFill>
              </a:defRPr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69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</p:spPr>
        <p:txBody>
          <a:bodyPr bIns="467298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</p:spPr>
        <p:txBody>
          <a:bodyPr bIns="467298" anchor="ctr">
            <a:normAutofit/>
          </a:bodyPr>
          <a:lstStyle>
            <a:lvl1pPr marL="0" marR="0" indent="0" algn="ctr" defTabSz="45651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606"/>
            <a:ext cx="1220787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606"/>
            <a:ext cx="1220786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606"/>
            <a:ext cx="1220786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606"/>
            <a:ext cx="1220787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pic>
        <p:nvPicPr>
          <p:cNvPr id="52" name="Picture 51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6700" y="129714"/>
            <a:ext cx="871013" cy="87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61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1006228"/>
            <a:ext cx="2140250" cy="3932006"/>
          </a:xfrm>
        </p:spPr>
        <p:txBody>
          <a:bodyPr anchor="t" anchorCtr="0"/>
          <a:lstStyle>
            <a:lvl1pPr algn="l">
              <a:defRPr sz="1900" b="0">
                <a:solidFill>
                  <a:srgbClr val="5D8CC9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65413" y="1038454"/>
            <a:ext cx="6216650" cy="3889544"/>
          </a:xfrm>
        </p:spPr>
        <p:txBody>
          <a:bodyPr/>
          <a:lstStyle>
            <a:lvl1pPr marL="0" indent="0">
              <a:buNone/>
              <a:defRPr sz="3200"/>
            </a:lvl1pPr>
            <a:lvl2pPr marL="456516" indent="0">
              <a:buNone/>
              <a:defRPr sz="2800"/>
            </a:lvl2pPr>
            <a:lvl3pPr marL="913032" indent="0">
              <a:buNone/>
              <a:defRPr sz="2400"/>
            </a:lvl3pPr>
            <a:lvl4pPr marL="1369547" indent="0">
              <a:buNone/>
              <a:defRPr sz="2000"/>
            </a:lvl4pPr>
            <a:lvl5pPr marL="1826051" indent="0">
              <a:buNone/>
              <a:defRPr sz="2000"/>
            </a:lvl5pPr>
            <a:lvl6pPr marL="2282573" indent="0">
              <a:buNone/>
              <a:defRPr sz="2000"/>
            </a:lvl6pPr>
            <a:lvl7pPr marL="2739093" indent="0">
              <a:buNone/>
              <a:defRPr sz="2000"/>
            </a:lvl7pPr>
            <a:lvl8pPr marL="3195595" indent="0">
              <a:buNone/>
              <a:defRPr sz="2000"/>
            </a:lvl8pPr>
            <a:lvl9pPr marL="3652116" indent="0">
              <a:buNone/>
              <a:defRPr sz="2000"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5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7650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5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7835" indent="-203230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688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361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525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192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21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7835" indent="-203230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688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361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525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192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86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7835" indent="-203230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688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361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525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192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74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81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29201"/>
            <a:ext cx="9144000" cy="1836886"/>
          </a:xfrm>
        </p:spPr>
        <p:txBody>
          <a:bodyPr/>
          <a:lstStyle>
            <a:lvl1pPr marL="228190" indent="0">
              <a:spcBef>
                <a:spcPts val="0"/>
              </a:spcBef>
              <a:buNone/>
              <a:defRPr sz="80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81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34" y="2565021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668" indent="0">
              <a:buFontTx/>
              <a:buNone/>
              <a:defRPr sz="1300">
                <a:latin typeface="+mn-lt"/>
              </a:defRPr>
            </a:lvl2pPr>
            <a:lvl3pPr marL="405269" indent="0">
              <a:buFontTx/>
              <a:buNone/>
              <a:defRPr sz="1300">
                <a:latin typeface="+mn-lt"/>
              </a:defRPr>
            </a:lvl3pPr>
            <a:lvl4pPr marL="604929" indent="0">
              <a:buFontTx/>
              <a:buNone/>
              <a:defRPr sz="1300">
                <a:latin typeface="+mn-lt"/>
              </a:defRPr>
            </a:lvl4pPr>
            <a:lvl5pPr marL="804606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3014625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8116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81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81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34" y="2565021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668" indent="0">
              <a:buFontTx/>
              <a:buNone/>
              <a:defRPr sz="1300">
                <a:latin typeface="+mn-lt"/>
              </a:defRPr>
            </a:lvl2pPr>
            <a:lvl3pPr marL="405269" indent="0">
              <a:buFontTx/>
              <a:buNone/>
              <a:defRPr sz="1300">
                <a:latin typeface="+mn-lt"/>
              </a:defRPr>
            </a:lvl3pPr>
            <a:lvl4pPr marL="604929" indent="0">
              <a:buFontTx/>
              <a:buNone/>
              <a:defRPr sz="1300">
                <a:latin typeface="+mn-lt"/>
              </a:defRPr>
            </a:lvl4pPr>
            <a:lvl5pPr marL="804606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0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" y="0"/>
            <a:ext cx="9143709" cy="51435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951" y="1165860"/>
            <a:ext cx="8530908" cy="3538300"/>
          </a:xfrm>
        </p:spPr>
        <p:txBody>
          <a:bodyPr/>
          <a:lstStyle>
            <a:lvl5pPr marL="1007835" indent="-203230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688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361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525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192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361" y="517242"/>
            <a:ext cx="7656204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205563" y="4924801"/>
            <a:ext cx="809895" cy="1134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800"/>
            <a:ext cx="269965" cy="113400"/>
          </a:xfrm>
        </p:spPr>
        <p:txBody>
          <a:bodyPr anchor="t"/>
          <a:lstStyle>
            <a:lvl1pPr marL="0" algn="r" defTabSz="684569" rtl="0" eaLnBrk="1" latinLnBrk="0" hangingPunct="1">
              <a:buNone/>
              <a:defRPr b="0"/>
            </a:lvl1pPr>
          </a:lstStyle>
          <a:p>
            <a:fld id="{EC55454F-F9AD-41CF-B3B2-412943C2A25E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79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7835" indent="-203230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688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361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525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192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65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4"/>
            <a:ext cx="8536336" cy="3724275"/>
          </a:xfrm>
        </p:spPr>
        <p:txBody>
          <a:bodyPr/>
          <a:lstStyle>
            <a:lvl1pPr marL="273355" indent="-273355">
              <a:buSzPct val="100000"/>
              <a:buFont typeface="+mj-lt"/>
              <a:buAutoNum type="arabicPeriod"/>
              <a:defRPr/>
            </a:lvl1pPr>
            <a:lvl2pPr marL="473026" indent="-199668">
              <a:defRPr/>
            </a:lvl2pPr>
            <a:lvl3pPr marL="672684" indent="-199668">
              <a:defRPr/>
            </a:lvl3pPr>
            <a:lvl4pPr marL="871160" indent="-198478">
              <a:defRPr/>
            </a:lvl4pPr>
            <a:lvl5pPr marL="1070811" indent="-199668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688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361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525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192" indent="-213924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52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ur Conversation Today - 5co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1" cy="59862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69"/>
            <a:ext cx="1973281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0422" y="4899600"/>
            <a:ext cx="512798" cy="17383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2467017" y="1145310"/>
            <a:ext cx="0" cy="372076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3756199" y="1145310"/>
            <a:ext cx="0" cy="372076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052626" y="1145310"/>
            <a:ext cx="0" cy="372076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349053" y="1145310"/>
            <a:ext cx="0" cy="372076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2563341" y="1144589"/>
            <a:ext cx="1089292" cy="3721486"/>
          </a:xfrm>
        </p:spPr>
        <p:txBody>
          <a:bodyPr bIns="467298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3859767" y="1144589"/>
            <a:ext cx="1089292" cy="3721486"/>
          </a:xfrm>
        </p:spPr>
        <p:txBody>
          <a:bodyPr bIns="467298" anchor="ctr">
            <a:normAutofit/>
          </a:bodyPr>
          <a:lstStyle>
            <a:lvl1pPr marL="0" marR="0" indent="0" algn="ctr" defTabSz="45651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156195" y="1144589"/>
            <a:ext cx="1089292" cy="3721486"/>
          </a:xfrm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6452622" y="1144589"/>
            <a:ext cx="1089292" cy="3721486"/>
          </a:xfrm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2563341" y="1144606"/>
            <a:ext cx="1089292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3859768" y="1144606"/>
            <a:ext cx="1089290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5156195" y="1144606"/>
            <a:ext cx="1089290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452622" y="1144606"/>
            <a:ext cx="1089292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grpSp>
        <p:nvGrpSpPr>
          <p:cNvPr id="25" name="Group 4"/>
          <p:cNvGrpSpPr>
            <a:grpSpLocks noChangeAspect="1"/>
          </p:cNvGrpSpPr>
          <p:nvPr userDrawn="1"/>
        </p:nvGrpSpPr>
        <p:grpSpPr bwMode="auto">
          <a:xfrm>
            <a:off x="7912384" y="290047"/>
            <a:ext cx="950978" cy="586271"/>
            <a:chOff x="0" y="384"/>
            <a:chExt cx="5760" cy="3551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auto">
            <a:xfrm>
              <a:off x="1966" y="633"/>
              <a:ext cx="609" cy="595"/>
            </a:xfrm>
            <a:custGeom>
              <a:avLst/>
              <a:gdLst>
                <a:gd name="T0" fmla="*/ 71 w 88"/>
                <a:gd name="T1" fmla="*/ 0 h 86"/>
                <a:gd name="T2" fmla="*/ 60 w 88"/>
                <a:gd name="T3" fmla="*/ 8 h 86"/>
                <a:gd name="T4" fmla="*/ 72 w 88"/>
                <a:gd name="T5" fmla="*/ 36 h 86"/>
                <a:gd name="T6" fmla="*/ 37 w 88"/>
                <a:gd name="T7" fmla="*/ 72 h 86"/>
                <a:gd name="T8" fmla="*/ 9 w 88"/>
                <a:gd name="T9" fmla="*/ 59 h 86"/>
                <a:gd name="T10" fmla="*/ 5 w 88"/>
                <a:gd name="T11" fmla="*/ 63 h 86"/>
                <a:gd name="T12" fmla="*/ 0 w 88"/>
                <a:gd name="T13" fmla="*/ 71 h 86"/>
                <a:gd name="T14" fmla="*/ 37 w 88"/>
                <a:gd name="T15" fmla="*/ 86 h 86"/>
                <a:gd name="T16" fmla="*/ 88 w 88"/>
                <a:gd name="T17" fmla="*/ 36 h 86"/>
                <a:gd name="T18" fmla="*/ 71 w 88"/>
                <a:gd name="T1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6">
                  <a:moveTo>
                    <a:pt x="71" y="0"/>
                  </a:moveTo>
                  <a:cubicBezTo>
                    <a:pt x="67" y="2"/>
                    <a:pt x="63" y="5"/>
                    <a:pt x="60" y="8"/>
                  </a:cubicBezTo>
                  <a:cubicBezTo>
                    <a:pt x="68" y="15"/>
                    <a:pt x="72" y="25"/>
                    <a:pt x="72" y="36"/>
                  </a:cubicBezTo>
                  <a:cubicBezTo>
                    <a:pt x="72" y="56"/>
                    <a:pt x="58" y="72"/>
                    <a:pt x="37" y="72"/>
                  </a:cubicBezTo>
                  <a:cubicBezTo>
                    <a:pt x="25" y="72"/>
                    <a:pt x="15" y="67"/>
                    <a:pt x="9" y="59"/>
                  </a:cubicBezTo>
                  <a:cubicBezTo>
                    <a:pt x="8" y="60"/>
                    <a:pt x="6" y="62"/>
                    <a:pt x="5" y="63"/>
                  </a:cubicBezTo>
                  <a:cubicBezTo>
                    <a:pt x="3" y="66"/>
                    <a:pt x="2" y="68"/>
                    <a:pt x="0" y="71"/>
                  </a:cubicBezTo>
                  <a:cubicBezTo>
                    <a:pt x="9" y="80"/>
                    <a:pt x="22" y="86"/>
                    <a:pt x="37" y="86"/>
                  </a:cubicBezTo>
                  <a:cubicBezTo>
                    <a:pt x="65" y="86"/>
                    <a:pt x="88" y="64"/>
                    <a:pt x="88" y="36"/>
                  </a:cubicBezTo>
                  <a:cubicBezTo>
                    <a:pt x="88" y="22"/>
                    <a:pt x="81" y="9"/>
                    <a:pt x="7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682" y="1491"/>
              <a:ext cx="263" cy="616"/>
            </a:xfrm>
            <a:custGeom>
              <a:avLst/>
              <a:gdLst>
                <a:gd name="T0" fmla="*/ 22 w 38"/>
                <a:gd name="T1" fmla="*/ 41 h 89"/>
                <a:gd name="T2" fmla="*/ 0 w 38"/>
                <a:gd name="T3" fmla="*/ 75 h 89"/>
                <a:gd name="T4" fmla="*/ 0 w 38"/>
                <a:gd name="T5" fmla="*/ 83 h 89"/>
                <a:gd name="T6" fmla="*/ 0 w 38"/>
                <a:gd name="T7" fmla="*/ 89 h 89"/>
                <a:gd name="T8" fmla="*/ 38 w 38"/>
                <a:gd name="T9" fmla="*/ 41 h 89"/>
                <a:gd name="T10" fmla="*/ 14 w 38"/>
                <a:gd name="T11" fmla="*/ 0 h 89"/>
                <a:gd name="T12" fmla="*/ 10 w 38"/>
                <a:gd name="T13" fmla="*/ 14 h 89"/>
                <a:gd name="T14" fmla="*/ 22 w 38"/>
                <a:gd name="T15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9">
                  <a:moveTo>
                    <a:pt x="22" y="41"/>
                  </a:moveTo>
                  <a:cubicBezTo>
                    <a:pt x="22" y="56"/>
                    <a:pt x="14" y="69"/>
                    <a:pt x="0" y="75"/>
                  </a:cubicBezTo>
                  <a:cubicBezTo>
                    <a:pt x="0" y="77"/>
                    <a:pt x="0" y="80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22" y="84"/>
                    <a:pt x="38" y="65"/>
                    <a:pt x="38" y="41"/>
                  </a:cubicBezTo>
                  <a:cubicBezTo>
                    <a:pt x="38" y="24"/>
                    <a:pt x="28" y="9"/>
                    <a:pt x="14" y="0"/>
                  </a:cubicBezTo>
                  <a:cubicBezTo>
                    <a:pt x="13" y="4"/>
                    <a:pt x="11" y="9"/>
                    <a:pt x="10" y="14"/>
                  </a:cubicBezTo>
                  <a:cubicBezTo>
                    <a:pt x="18" y="20"/>
                    <a:pt x="22" y="31"/>
                    <a:pt x="22" y="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1710" y="2336"/>
              <a:ext cx="485" cy="664"/>
            </a:xfrm>
            <a:custGeom>
              <a:avLst/>
              <a:gdLst>
                <a:gd name="T0" fmla="*/ 19 w 70"/>
                <a:gd name="T1" fmla="*/ 14 h 96"/>
                <a:gd name="T2" fmla="*/ 55 w 70"/>
                <a:gd name="T3" fmla="*/ 49 h 96"/>
                <a:gd name="T4" fmla="*/ 29 w 70"/>
                <a:gd name="T5" fmla="*/ 84 h 96"/>
                <a:gd name="T6" fmla="*/ 37 w 70"/>
                <a:gd name="T7" fmla="*/ 96 h 96"/>
                <a:gd name="T8" fmla="*/ 70 w 70"/>
                <a:gd name="T9" fmla="*/ 49 h 96"/>
                <a:gd name="T10" fmla="*/ 19 w 70"/>
                <a:gd name="T11" fmla="*/ 0 h 96"/>
                <a:gd name="T12" fmla="*/ 0 w 70"/>
                <a:gd name="T13" fmla="*/ 4 h 96"/>
                <a:gd name="T14" fmla="*/ 3 w 70"/>
                <a:gd name="T15" fmla="*/ 17 h 96"/>
                <a:gd name="T16" fmla="*/ 19 w 70"/>
                <a:gd name="T17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96">
                  <a:moveTo>
                    <a:pt x="19" y="14"/>
                  </a:moveTo>
                  <a:cubicBezTo>
                    <a:pt x="42" y="14"/>
                    <a:pt x="55" y="30"/>
                    <a:pt x="55" y="49"/>
                  </a:cubicBezTo>
                  <a:cubicBezTo>
                    <a:pt x="55" y="66"/>
                    <a:pt x="45" y="80"/>
                    <a:pt x="29" y="84"/>
                  </a:cubicBezTo>
                  <a:cubicBezTo>
                    <a:pt x="31" y="88"/>
                    <a:pt x="34" y="92"/>
                    <a:pt x="37" y="96"/>
                  </a:cubicBezTo>
                  <a:cubicBezTo>
                    <a:pt x="56" y="89"/>
                    <a:pt x="70" y="71"/>
                    <a:pt x="70" y="49"/>
                  </a:cubicBezTo>
                  <a:cubicBezTo>
                    <a:pt x="70" y="22"/>
                    <a:pt x="47" y="0"/>
                    <a:pt x="19" y="0"/>
                  </a:cubicBezTo>
                  <a:cubicBezTo>
                    <a:pt x="12" y="0"/>
                    <a:pt x="6" y="1"/>
                    <a:pt x="0" y="4"/>
                  </a:cubicBezTo>
                  <a:cubicBezTo>
                    <a:pt x="0" y="8"/>
                    <a:pt x="1" y="13"/>
                    <a:pt x="3" y="17"/>
                  </a:cubicBezTo>
                  <a:cubicBezTo>
                    <a:pt x="7" y="15"/>
                    <a:pt x="13" y="14"/>
                    <a:pt x="19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3157" y="2350"/>
              <a:ext cx="512" cy="671"/>
            </a:xfrm>
            <a:custGeom>
              <a:avLst/>
              <a:gdLst>
                <a:gd name="T0" fmla="*/ 58 w 74"/>
                <a:gd name="T1" fmla="*/ 0 h 97"/>
                <a:gd name="T2" fmla="*/ 58 w 74"/>
                <a:gd name="T3" fmla="*/ 57 h 97"/>
                <a:gd name="T4" fmla="*/ 37 w 74"/>
                <a:gd name="T5" fmla="*/ 83 h 97"/>
                <a:gd name="T6" fmla="*/ 16 w 74"/>
                <a:gd name="T7" fmla="*/ 57 h 97"/>
                <a:gd name="T8" fmla="*/ 16 w 74"/>
                <a:gd name="T9" fmla="*/ 0 h 97"/>
                <a:gd name="T10" fmla="*/ 0 w 74"/>
                <a:gd name="T11" fmla="*/ 0 h 97"/>
                <a:gd name="T12" fmla="*/ 0 w 74"/>
                <a:gd name="T13" fmla="*/ 60 h 97"/>
                <a:gd name="T14" fmla="*/ 37 w 74"/>
                <a:gd name="T15" fmla="*/ 97 h 97"/>
                <a:gd name="T16" fmla="*/ 74 w 74"/>
                <a:gd name="T17" fmla="*/ 60 h 97"/>
                <a:gd name="T18" fmla="*/ 74 w 74"/>
                <a:gd name="T19" fmla="*/ 0 h 97"/>
                <a:gd name="T20" fmla="*/ 58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58" y="0"/>
                  </a:moveTo>
                  <a:cubicBezTo>
                    <a:pt x="58" y="57"/>
                    <a:pt x="58" y="57"/>
                    <a:pt x="58" y="57"/>
                  </a:cubicBezTo>
                  <a:cubicBezTo>
                    <a:pt x="58" y="71"/>
                    <a:pt x="54" y="83"/>
                    <a:pt x="37" y="83"/>
                  </a:cubicBezTo>
                  <a:cubicBezTo>
                    <a:pt x="20" y="83"/>
                    <a:pt x="16" y="71"/>
                    <a:pt x="16" y="5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81"/>
                    <a:pt x="13" y="97"/>
                    <a:pt x="37" y="97"/>
                  </a:cubicBezTo>
                  <a:cubicBezTo>
                    <a:pt x="61" y="97"/>
                    <a:pt x="74" y="81"/>
                    <a:pt x="74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1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15"/>
            <p:cNvSpPr>
              <a:spLocks noChangeArrowheads="1"/>
            </p:cNvSpPr>
            <p:nvPr/>
          </p:nvSpPr>
          <p:spPr bwMode="auto">
            <a:xfrm>
              <a:off x="4874" y="1450"/>
              <a:ext cx="111" cy="6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7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4"/>
            <p:cNvSpPr>
              <a:spLocks noEditPoints="1"/>
            </p:cNvSpPr>
            <p:nvPr/>
          </p:nvSpPr>
          <p:spPr bwMode="auto">
            <a:xfrm>
              <a:off x="2430" y="2350"/>
              <a:ext cx="505" cy="657"/>
            </a:xfrm>
            <a:custGeom>
              <a:avLst/>
              <a:gdLst>
                <a:gd name="T0" fmla="*/ 26 w 73"/>
                <a:gd name="T1" fmla="*/ 0 h 95"/>
                <a:gd name="T2" fmla="*/ 53 w 73"/>
                <a:gd name="T3" fmla="*/ 4 h 95"/>
                <a:gd name="T4" fmla="*/ 65 w 73"/>
                <a:gd name="T5" fmla="*/ 27 h 95"/>
                <a:gd name="T6" fmla="*/ 42 w 73"/>
                <a:gd name="T7" fmla="*/ 53 h 95"/>
                <a:gd name="T8" fmla="*/ 73 w 73"/>
                <a:gd name="T9" fmla="*/ 95 h 95"/>
                <a:gd name="T10" fmla="*/ 55 w 73"/>
                <a:gd name="T11" fmla="*/ 95 h 95"/>
                <a:gd name="T12" fmla="*/ 26 w 73"/>
                <a:gd name="T13" fmla="*/ 55 h 95"/>
                <a:gd name="T14" fmla="*/ 16 w 73"/>
                <a:gd name="T15" fmla="*/ 55 h 95"/>
                <a:gd name="T16" fmla="*/ 16 w 73"/>
                <a:gd name="T17" fmla="*/ 95 h 95"/>
                <a:gd name="T18" fmla="*/ 0 w 73"/>
                <a:gd name="T19" fmla="*/ 95 h 95"/>
                <a:gd name="T20" fmla="*/ 0 w 73"/>
                <a:gd name="T21" fmla="*/ 0 h 95"/>
                <a:gd name="T22" fmla="*/ 26 w 73"/>
                <a:gd name="T23" fmla="*/ 0 h 95"/>
                <a:gd name="T24" fmla="*/ 16 w 73"/>
                <a:gd name="T25" fmla="*/ 42 h 95"/>
                <a:gd name="T26" fmla="*/ 23 w 73"/>
                <a:gd name="T27" fmla="*/ 42 h 95"/>
                <a:gd name="T28" fmla="*/ 50 w 73"/>
                <a:gd name="T29" fmla="*/ 27 h 95"/>
                <a:gd name="T30" fmla="*/ 22 w 73"/>
                <a:gd name="T31" fmla="*/ 13 h 95"/>
                <a:gd name="T32" fmla="*/ 16 w 73"/>
                <a:gd name="T33" fmla="*/ 13 h 95"/>
                <a:gd name="T34" fmla="*/ 16 w 73"/>
                <a:gd name="T3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95">
                  <a:moveTo>
                    <a:pt x="26" y="0"/>
                  </a:moveTo>
                  <a:cubicBezTo>
                    <a:pt x="35" y="0"/>
                    <a:pt x="45" y="0"/>
                    <a:pt x="53" y="4"/>
                  </a:cubicBezTo>
                  <a:cubicBezTo>
                    <a:pt x="61" y="9"/>
                    <a:pt x="65" y="18"/>
                    <a:pt x="65" y="27"/>
                  </a:cubicBezTo>
                  <a:cubicBezTo>
                    <a:pt x="65" y="40"/>
                    <a:pt x="56" y="52"/>
                    <a:pt x="42" y="53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16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35" y="42"/>
                    <a:pt x="50" y="42"/>
                    <a:pt x="50" y="27"/>
                  </a:cubicBezTo>
                  <a:cubicBezTo>
                    <a:pt x="50" y="12"/>
                    <a:pt x="34" y="13"/>
                    <a:pt x="22" y="13"/>
                  </a:cubicBezTo>
                  <a:cubicBezTo>
                    <a:pt x="16" y="13"/>
                    <a:pt x="16" y="13"/>
                    <a:pt x="16" y="13"/>
                  </a:cubicBezTo>
                  <a:lnTo>
                    <a:pt x="1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5"/>
            <p:cNvSpPr>
              <a:spLocks noEditPoints="1"/>
            </p:cNvSpPr>
            <p:nvPr/>
          </p:nvSpPr>
          <p:spPr bwMode="auto">
            <a:xfrm>
              <a:off x="2804" y="550"/>
              <a:ext cx="498" cy="665"/>
            </a:xfrm>
            <a:custGeom>
              <a:avLst/>
              <a:gdLst>
                <a:gd name="T0" fmla="*/ 25 w 72"/>
                <a:gd name="T1" fmla="*/ 0 h 96"/>
                <a:gd name="T2" fmla="*/ 52 w 72"/>
                <a:gd name="T3" fmla="*/ 5 h 96"/>
                <a:gd name="T4" fmla="*/ 65 w 72"/>
                <a:gd name="T5" fmla="*/ 28 h 96"/>
                <a:gd name="T6" fmla="*/ 41 w 72"/>
                <a:gd name="T7" fmla="*/ 54 h 96"/>
                <a:gd name="T8" fmla="*/ 72 w 72"/>
                <a:gd name="T9" fmla="*/ 96 h 96"/>
                <a:gd name="T10" fmla="*/ 54 w 72"/>
                <a:gd name="T11" fmla="*/ 96 h 96"/>
                <a:gd name="T12" fmla="*/ 26 w 72"/>
                <a:gd name="T13" fmla="*/ 55 h 96"/>
                <a:gd name="T14" fmla="*/ 15 w 72"/>
                <a:gd name="T15" fmla="*/ 55 h 96"/>
                <a:gd name="T16" fmla="*/ 15 w 72"/>
                <a:gd name="T17" fmla="*/ 96 h 96"/>
                <a:gd name="T18" fmla="*/ 0 w 72"/>
                <a:gd name="T19" fmla="*/ 96 h 96"/>
                <a:gd name="T20" fmla="*/ 0 w 72"/>
                <a:gd name="T21" fmla="*/ 0 h 96"/>
                <a:gd name="T22" fmla="*/ 25 w 72"/>
                <a:gd name="T23" fmla="*/ 0 h 96"/>
                <a:gd name="T24" fmla="*/ 15 w 72"/>
                <a:gd name="T25" fmla="*/ 43 h 96"/>
                <a:gd name="T26" fmla="*/ 22 w 72"/>
                <a:gd name="T27" fmla="*/ 43 h 96"/>
                <a:gd name="T28" fmla="*/ 50 w 72"/>
                <a:gd name="T29" fmla="*/ 28 h 96"/>
                <a:gd name="T30" fmla="*/ 22 w 72"/>
                <a:gd name="T31" fmla="*/ 14 h 96"/>
                <a:gd name="T32" fmla="*/ 15 w 72"/>
                <a:gd name="T33" fmla="*/ 14 h 96"/>
                <a:gd name="T34" fmla="*/ 15 w 72"/>
                <a:gd name="T35" fmla="*/ 4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6">
                  <a:moveTo>
                    <a:pt x="25" y="0"/>
                  </a:moveTo>
                  <a:cubicBezTo>
                    <a:pt x="34" y="0"/>
                    <a:pt x="44" y="1"/>
                    <a:pt x="52" y="5"/>
                  </a:cubicBezTo>
                  <a:cubicBezTo>
                    <a:pt x="60" y="10"/>
                    <a:pt x="65" y="19"/>
                    <a:pt x="65" y="28"/>
                  </a:cubicBezTo>
                  <a:cubicBezTo>
                    <a:pt x="65" y="41"/>
                    <a:pt x="55" y="53"/>
                    <a:pt x="41" y="54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15" y="43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35" y="43"/>
                    <a:pt x="50" y="43"/>
                    <a:pt x="50" y="28"/>
                  </a:cubicBezTo>
                  <a:cubicBezTo>
                    <a:pt x="50" y="13"/>
                    <a:pt x="34" y="14"/>
                    <a:pt x="22" y="14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1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6"/>
            <p:cNvSpPr>
              <a:spLocks noEditPoints="1"/>
            </p:cNvSpPr>
            <p:nvPr/>
          </p:nvSpPr>
          <p:spPr bwMode="auto">
            <a:xfrm>
              <a:off x="4140" y="557"/>
              <a:ext cx="554" cy="658"/>
            </a:xfrm>
            <a:custGeom>
              <a:avLst/>
              <a:gdLst>
                <a:gd name="T0" fmla="*/ 15 w 80"/>
                <a:gd name="T1" fmla="*/ 81 h 95"/>
                <a:gd name="T2" fmla="*/ 24 w 80"/>
                <a:gd name="T3" fmla="*/ 81 h 95"/>
                <a:gd name="T4" fmla="*/ 65 w 80"/>
                <a:gd name="T5" fmla="*/ 47 h 95"/>
                <a:gd name="T6" fmla="*/ 24 w 80"/>
                <a:gd name="T7" fmla="*/ 13 h 95"/>
                <a:gd name="T8" fmla="*/ 15 w 80"/>
                <a:gd name="T9" fmla="*/ 13 h 95"/>
                <a:gd name="T10" fmla="*/ 15 w 80"/>
                <a:gd name="T11" fmla="*/ 81 h 95"/>
                <a:gd name="T12" fmla="*/ 0 w 80"/>
                <a:gd name="T13" fmla="*/ 0 h 95"/>
                <a:gd name="T14" fmla="*/ 26 w 80"/>
                <a:gd name="T15" fmla="*/ 0 h 95"/>
                <a:gd name="T16" fmla="*/ 80 w 80"/>
                <a:gd name="T17" fmla="*/ 47 h 95"/>
                <a:gd name="T18" fmla="*/ 25 w 80"/>
                <a:gd name="T19" fmla="*/ 95 h 95"/>
                <a:gd name="T20" fmla="*/ 0 w 80"/>
                <a:gd name="T21" fmla="*/ 95 h 95"/>
                <a:gd name="T22" fmla="*/ 0 w 80"/>
                <a:gd name="T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5">
                  <a:moveTo>
                    <a:pt x="15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45" y="81"/>
                    <a:pt x="65" y="74"/>
                    <a:pt x="65" y="47"/>
                  </a:cubicBezTo>
                  <a:cubicBezTo>
                    <a:pt x="65" y="19"/>
                    <a:pt x="45" y="13"/>
                    <a:pt x="2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81"/>
                    <a:pt x="15" y="81"/>
                    <a:pt x="15" y="81"/>
                  </a:cubicBezTo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56" y="0"/>
                    <a:pt x="80" y="14"/>
                    <a:pt x="80" y="47"/>
                  </a:cubicBezTo>
                  <a:cubicBezTo>
                    <a:pt x="80" y="80"/>
                    <a:pt x="56" y="95"/>
                    <a:pt x="25" y="95"/>
                  </a:cubicBezTo>
                  <a:cubicBezTo>
                    <a:pt x="0" y="95"/>
                    <a:pt x="0" y="95"/>
                    <a:pt x="0" y="95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7"/>
            <p:cNvSpPr>
              <a:spLocks/>
            </p:cNvSpPr>
            <p:nvPr/>
          </p:nvSpPr>
          <p:spPr bwMode="auto">
            <a:xfrm>
              <a:off x="5227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9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4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8"/>
            <p:cNvSpPr>
              <a:spLocks/>
            </p:cNvSpPr>
            <p:nvPr/>
          </p:nvSpPr>
          <p:spPr bwMode="auto">
            <a:xfrm>
              <a:off x="588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8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3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9"/>
            <p:cNvSpPr>
              <a:spLocks noEditPoints="1"/>
            </p:cNvSpPr>
            <p:nvPr/>
          </p:nvSpPr>
          <p:spPr bwMode="auto">
            <a:xfrm>
              <a:off x="1239" y="384"/>
              <a:ext cx="3441" cy="3551"/>
            </a:xfrm>
            <a:custGeom>
              <a:avLst/>
              <a:gdLst>
                <a:gd name="T0" fmla="*/ 491 w 497"/>
                <a:gd name="T1" fmla="*/ 443 h 513"/>
                <a:gd name="T2" fmla="*/ 491 w 497"/>
                <a:gd name="T3" fmla="*/ 443 h 513"/>
                <a:gd name="T4" fmla="*/ 487 w 497"/>
                <a:gd name="T5" fmla="*/ 439 h 513"/>
                <a:gd name="T6" fmla="*/ 320 w 497"/>
                <a:gd name="T7" fmla="*/ 498 h 513"/>
                <a:gd name="T8" fmla="*/ 135 w 497"/>
                <a:gd name="T9" fmla="*/ 423 h 513"/>
                <a:gd name="T10" fmla="*/ 59 w 497"/>
                <a:gd name="T11" fmla="*/ 243 h 513"/>
                <a:gd name="T12" fmla="*/ 106 w 497"/>
                <a:gd name="T13" fmla="*/ 97 h 513"/>
                <a:gd name="T14" fmla="*/ 227 w 497"/>
                <a:gd name="T15" fmla="*/ 4 h 513"/>
                <a:gd name="T16" fmla="*/ 225 w 497"/>
                <a:gd name="T17" fmla="*/ 0 h 513"/>
                <a:gd name="T18" fmla="*/ 167 w 497"/>
                <a:gd name="T19" fmla="*/ 29 h 513"/>
                <a:gd name="T20" fmla="*/ 142 w 497"/>
                <a:gd name="T21" fmla="*/ 23 h 513"/>
                <a:gd name="T22" fmla="*/ 91 w 497"/>
                <a:gd name="T23" fmla="*/ 72 h 513"/>
                <a:gd name="T24" fmla="*/ 98 w 497"/>
                <a:gd name="T25" fmla="*/ 98 h 513"/>
                <a:gd name="T26" fmla="*/ 69 w 497"/>
                <a:gd name="T27" fmla="*/ 155 h 513"/>
                <a:gd name="T28" fmla="*/ 51 w 497"/>
                <a:gd name="T29" fmla="*/ 152 h 513"/>
                <a:gd name="T30" fmla="*/ 0 w 497"/>
                <a:gd name="T31" fmla="*/ 201 h 513"/>
                <a:gd name="T32" fmla="*/ 51 w 497"/>
                <a:gd name="T33" fmla="*/ 251 h 513"/>
                <a:gd name="T34" fmla="*/ 54 w 497"/>
                <a:gd name="T35" fmla="*/ 251 h 513"/>
                <a:gd name="T36" fmla="*/ 58 w 497"/>
                <a:gd name="T37" fmla="*/ 291 h 513"/>
                <a:gd name="T38" fmla="*/ 36 w 497"/>
                <a:gd name="T39" fmla="*/ 331 h 513"/>
                <a:gd name="T40" fmla="*/ 87 w 497"/>
                <a:gd name="T41" fmla="*/ 381 h 513"/>
                <a:gd name="T42" fmla="*/ 94 w 497"/>
                <a:gd name="T43" fmla="*/ 380 h 513"/>
                <a:gd name="T44" fmla="*/ 132 w 497"/>
                <a:gd name="T45" fmla="*/ 427 h 513"/>
                <a:gd name="T46" fmla="*/ 146 w 497"/>
                <a:gd name="T47" fmla="*/ 440 h 513"/>
                <a:gd name="T48" fmla="*/ 140 w 497"/>
                <a:gd name="T49" fmla="*/ 448 h 513"/>
                <a:gd name="T50" fmla="*/ 320 w 497"/>
                <a:gd name="T51" fmla="*/ 513 h 513"/>
                <a:gd name="T52" fmla="*/ 497 w 497"/>
                <a:gd name="T53" fmla="*/ 450 h 513"/>
                <a:gd name="T54" fmla="*/ 491 w 497"/>
                <a:gd name="T55" fmla="*/ 443 h 513"/>
                <a:gd name="T56" fmla="*/ 142 w 497"/>
                <a:gd name="T57" fmla="*/ 37 h 513"/>
                <a:gd name="T58" fmla="*/ 155 w 497"/>
                <a:gd name="T59" fmla="*/ 39 h 513"/>
                <a:gd name="T60" fmla="*/ 108 w 497"/>
                <a:gd name="T61" fmla="*/ 85 h 513"/>
                <a:gd name="T62" fmla="*/ 106 w 497"/>
                <a:gd name="T63" fmla="*/ 72 h 513"/>
                <a:gd name="T64" fmla="*/ 142 w 497"/>
                <a:gd name="T65" fmla="*/ 37 h 513"/>
                <a:gd name="T66" fmla="*/ 15 w 497"/>
                <a:gd name="T67" fmla="*/ 201 h 513"/>
                <a:gd name="T68" fmla="*/ 51 w 497"/>
                <a:gd name="T69" fmla="*/ 166 h 513"/>
                <a:gd name="T70" fmla="*/ 65 w 497"/>
                <a:gd name="T71" fmla="*/ 168 h 513"/>
                <a:gd name="T72" fmla="*/ 54 w 497"/>
                <a:gd name="T73" fmla="*/ 237 h 513"/>
                <a:gd name="T74" fmla="*/ 51 w 497"/>
                <a:gd name="T75" fmla="*/ 237 h 513"/>
                <a:gd name="T76" fmla="*/ 15 w 497"/>
                <a:gd name="T77" fmla="*/ 201 h 513"/>
                <a:gd name="T78" fmla="*/ 52 w 497"/>
                <a:gd name="T79" fmla="*/ 331 h 513"/>
                <a:gd name="T80" fmla="*/ 61 w 497"/>
                <a:gd name="T81" fmla="*/ 306 h 513"/>
                <a:gd name="T82" fmla="*/ 86 w 497"/>
                <a:gd name="T83" fmla="*/ 367 h 513"/>
                <a:gd name="T84" fmla="*/ 52 w 497"/>
                <a:gd name="T85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7" h="513">
                  <a:moveTo>
                    <a:pt x="491" y="443"/>
                  </a:moveTo>
                  <a:cubicBezTo>
                    <a:pt x="491" y="443"/>
                    <a:pt x="491" y="443"/>
                    <a:pt x="491" y="443"/>
                  </a:cubicBezTo>
                  <a:cubicBezTo>
                    <a:pt x="487" y="439"/>
                    <a:pt x="487" y="439"/>
                    <a:pt x="487" y="439"/>
                  </a:cubicBezTo>
                  <a:cubicBezTo>
                    <a:pt x="440" y="477"/>
                    <a:pt x="381" y="498"/>
                    <a:pt x="320" y="498"/>
                  </a:cubicBezTo>
                  <a:cubicBezTo>
                    <a:pt x="250" y="498"/>
                    <a:pt x="185" y="471"/>
                    <a:pt x="135" y="423"/>
                  </a:cubicBezTo>
                  <a:cubicBezTo>
                    <a:pt x="86" y="375"/>
                    <a:pt x="59" y="311"/>
                    <a:pt x="59" y="243"/>
                  </a:cubicBezTo>
                  <a:cubicBezTo>
                    <a:pt x="59" y="190"/>
                    <a:pt x="75" y="140"/>
                    <a:pt x="106" y="97"/>
                  </a:cubicBezTo>
                  <a:cubicBezTo>
                    <a:pt x="136" y="54"/>
                    <a:pt x="178" y="23"/>
                    <a:pt x="227" y="4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4" y="7"/>
                    <a:pt x="185" y="17"/>
                    <a:pt x="167" y="29"/>
                  </a:cubicBezTo>
                  <a:cubicBezTo>
                    <a:pt x="160" y="25"/>
                    <a:pt x="151" y="23"/>
                    <a:pt x="142" y="23"/>
                  </a:cubicBezTo>
                  <a:cubicBezTo>
                    <a:pt x="114" y="23"/>
                    <a:pt x="91" y="45"/>
                    <a:pt x="91" y="72"/>
                  </a:cubicBezTo>
                  <a:cubicBezTo>
                    <a:pt x="91" y="82"/>
                    <a:pt x="93" y="91"/>
                    <a:pt x="98" y="98"/>
                  </a:cubicBezTo>
                  <a:cubicBezTo>
                    <a:pt x="86" y="116"/>
                    <a:pt x="76" y="135"/>
                    <a:pt x="69" y="155"/>
                  </a:cubicBezTo>
                  <a:cubicBezTo>
                    <a:pt x="63" y="153"/>
                    <a:pt x="57" y="152"/>
                    <a:pt x="51" y="152"/>
                  </a:cubicBezTo>
                  <a:cubicBezTo>
                    <a:pt x="23" y="152"/>
                    <a:pt x="0" y="174"/>
                    <a:pt x="0" y="201"/>
                  </a:cubicBezTo>
                  <a:cubicBezTo>
                    <a:pt x="0" y="230"/>
                    <a:pt x="23" y="251"/>
                    <a:pt x="51" y="251"/>
                  </a:cubicBezTo>
                  <a:cubicBezTo>
                    <a:pt x="52" y="251"/>
                    <a:pt x="53" y="251"/>
                    <a:pt x="54" y="251"/>
                  </a:cubicBezTo>
                  <a:cubicBezTo>
                    <a:pt x="54" y="264"/>
                    <a:pt x="56" y="278"/>
                    <a:pt x="58" y="291"/>
                  </a:cubicBezTo>
                  <a:cubicBezTo>
                    <a:pt x="45" y="300"/>
                    <a:pt x="36" y="315"/>
                    <a:pt x="36" y="331"/>
                  </a:cubicBezTo>
                  <a:cubicBezTo>
                    <a:pt x="36" y="360"/>
                    <a:pt x="59" y="381"/>
                    <a:pt x="87" y="381"/>
                  </a:cubicBezTo>
                  <a:cubicBezTo>
                    <a:pt x="90" y="381"/>
                    <a:pt x="92" y="381"/>
                    <a:pt x="94" y="380"/>
                  </a:cubicBezTo>
                  <a:cubicBezTo>
                    <a:pt x="104" y="397"/>
                    <a:pt x="117" y="413"/>
                    <a:pt x="132" y="427"/>
                  </a:cubicBezTo>
                  <a:cubicBezTo>
                    <a:pt x="136" y="431"/>
                    <a:pt x="141" y="436"/>
                    <a:pt x="146" y="440"/>
                  </a:cubicBezTo>
                  <a:cubicBezTo>
                    <a:pt x="140" y="448"/>
                    <a:pt x="140" y="448"/>
                    <a:pt x="140" y="448"/>
                  </a:cubicBezTo>
                  <a:cubicBezTo>
                    <a:pt x="190" y="490"/>
                    <a:pt x="254" y="513"/>
                    <a:pt x="320" y="513"/>
                  </a:cubicBezTo>
                  <a:cubicBezTo>
                    <a:pt x="385" y="513"/>
                    <a:pt x="448" y="491"/>
                    <a:pt x="497" y="450"/>
                  </a:cubicBezTo>
                  <a:lnTo>
                    <a:pt x="491" y="443"/>
                  </a:lnTo>
                  <a:close/>
                  <a:moveTo>
                    <a:pt x="142" y="37"/>
                  </a:moveTo>
                  <a:cubicBezTo>
                    <a:pt x="147" y="37"/>
                    <a:pt x="151" y="37"/>
                    <a:pt x="155" y="39"/>
                  </a:cubicBezTo>
                  <a:cubicBezTo>
                    <a:pt x="137" y="52"/>
                    <a:pt x="122" y="67"/>
                    <a:pt x="108" y="85"/>
                  </a:cubicBezTo>
                  <a:cubicBezTo>
                    <a:pt x="107" y="81"/>
                    <a:pt x="106" y="77"/>
                    <a:pt x="106" y="72"/>
                  </a:cubicBezTo>
                  <a:cubicBezTo>
                    <a:pt x="106" y="53"/>
                    <a:pt x="119" y="37"/>
                    <a:pt x="142" y="37"/>
                  </a:cubicBezTo>
                  <a:close/>
                  <a:moveTo>
                    <a:pt x="15" y="201"/>
                  </a:moveTo>
                  <a:cubicBezTo>
                    <a:pt x="15" y="183"/>
                    <a:pt x="28" y="166"/>
                    <a:pt x="51" y="166"/>
                  </a:cubicBezTo>
                  <a:cubicBezTo>
                    <a:pt x="56" y="166"/>
                    <a:pt x="61" y="167"/>
                    <a:pt x="65" y="168"/>
                  </a:cubicBezTo>
                  <a:cubicBezTo>
                    <a:pt x="58" y="190"/>
                    <a:pt x="54" y="213"/>
                    <a:pt x="54" y="237"/>
                  </a:cubicBezTo>
                  <a:cubicBezTo>
                    <a:pt x="53" y="237"/>
                    <a:pt x="52" y="237"/>
                    <a:pt x="51" y="237"/>
                  </a:cubicBezTo>
                  <a:cubicBezTo>
                    <a:pt x="30" y="237"/>
                    <a:pt x="15" y="221"/>
                    <a:pt x="15" y="201"/>
                  </a:cubicBezTo>
                  <a:close/>
                  <a:moveTo>
                    <a:pt x="52" y="331"/>
                  </a:moveTo>
                  <a:cubicBezTo>
                    <a:pt x="52" y="322"/>
                    <a:pt x="55" y="313"/>
                    <a:pt x="61" y="306"/>
                  </a:cubicBezTo>
                  <a:cubicBezTo>
                    <a:pt x="67" y="327"/>
                    <a:pt x="75" y="348"/>
                    <a:pt x="86" y="367"/>
                  </a:cubicBezTo>
                  <a:cubicBezTo>
                    <a:pt x="66" y="366"/>
                    <a:pt x="52" y="350"/>
                    <a:pt x="52" y="3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30"/>
            <p:cNvSpPr>
              <a:spLocks noEditPoints="1"/>
            </p:cNvSpPr>
            <p:nvPr/>
          </p:nvSpPr>
          <p:spPr bwMode="auto">
            <a:xfrm>
              <a:off x="2956" y="1436"/>
              <a:ext cx="706" cy="685"/>
            </a:xfrm>
            <a:custGeom>
              <a:avLst/>
              <a:gdLst>
                <a:gd name="T0" fmla="*/ 87 w 102"/>
                <a:gd name="T1" fmla="*/ 49 h 99"/>
                <a:gd name="T2" fmla="*/ 51 w 102"/>
                <a:gd name="T3" fmla="*/ 14 h 99"/>
                <a:gd name="T4" fmla="*/ 16 w 102"/>
                <a:gd name="T5" fmla="*/ 49 h 99"/>
                <a:gd name="T6" fmla="*/ 51 w 102"/>
                <a:gd name="T7" fmla="*/ 85 h 99"/>
                <a:gd name="T8" fmla="*/ 87 w 102"/>
                <a:gd name="T9" fmla="*/ 49 h 99"/>
                <a:gd name="T10" fmla="*/ 102 w 102"/>
                <a:gd name="T11" fmla="*/ 49 h 99"/>
                <a:gd name="T12" fmla="*/ 51 w 102"/>
                <a:gd name="T13" fmla="*/ 99 h 99"/>
                <a:gd name="T14" fmla="*/ 0 w 102"/>
                <a:gd name="T15" fmla="*/ 49 h 99"/>
                <a:gd name="T16" fmla="*/ 51 w 102"/>
                <a:gd name="T17" fmla="*/ 0 h 99"/>
                <a:gd name="T18" fmla="*/ 102 w 102"/>
                <a:gd name="T19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99">
                  <a:moveTo>
                    <a:pt x="87" y="49"/>
                  </a:moveTo>
                  <a:cubicBezTo>
                    <a:pt x="87" y="31"/>
                    <a:pt x="74" y="14"/>
                    <a:pt x="51" y="14"/>
                  </a:cubicBezTo>
                  <a:cubicBezTo>
                    <a:pt x="28" y="14"/>
                    <a:pt x="16" y="31"/>
                    <a:pt x="16" y="49"/>
                  </a:cubicBezTo>
                  <a:cubicBezTo>
                    <a:pt x="16" y="69"/>
                    <a:pt x="30" y="85"/>
                    <a:pt x="51" y="85"/>
                  </a:cubicBezTo>
                  <a:cubicBezTo>
                    <a:pt x="72" y="85"/>
                    <a:pt x="87" y="69"/>
                    <a:pt x="87" y="49"/>
                  </a:cubicBezTo>
                  <a:moveTo>
                    <a:pt x="102" y="49"/>
                  </a:moveTo>
                  <a:cubicBezTo>
                    <a:pt x="102" y="78"/>
                    <a:pt x="79" y="99"/>
                    <a:pt x="51" y="99"/>
                  </a:cubicBezTo>
                  <a:cubicBezTo>
                    <a:pt x="23" y="99"/>
                    <a:pt x="0" y="78"/>
                    <a:pt x="0" y="49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52" name="Straight Connector 51"/>
          <p:cNvCxnSpPr/>
          <p:nvPr userDrawn="1"/>
        </p:nvCxnSpPr>
        <p:spPr>
          <a:xfrm>
            <a:off x="7633630" y="1145310"/>
            <a:ext cx="0" cy="372076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Picture Placeholder 15"/>
          <p:cNvSpPr>
            <a:spLocks noGrp="1"/>
          </p:cNvSpPr>
          <p:nvPr>
            <p:ph type="pic" sz="quarter" idx="21" hasCustomPrompt="1"/>
          </p:nvPr>
        </p:nvSpPr>
        <p:spPr>
          <a:xfrm>
            <a:off x="7737200" y="1144589"/>
            <a:ext cx="1089292" cy="3721486"/>
          </a:xfrm>
        </p:spPr>
        <p:txBody>
          <a:bodyPr bIns="467298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54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7737200" y="1144606"/>
            <a:ext cx="1089292" cy="1004887"/>
          </a:xfrm>
        </p:spPr>
        <p:txBody>
          <a:bodyPr lIns="71892" tIns="35946" rIns="71892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bg1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chemeClr val="bg1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192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78177"/>
            <a:ext cx="8534400" cy="1021556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962547"/>
            <a:ext cx="8534400" cy="1125140"/>
          </a:xfrm>
        </p:spPr>
        <p:txBody>
          <a:bodyPr anchor="b"/>
          <a:lstStyle>
            <a:lvl1pPr marL="0" indent="0">
              <a:buNone/>
              <a:defRPr sz="1300"/>
            </a:lvl1pPr>
            <a:lvl2pPr marL="342284" indent="0">
              <a:buNone/>
              <a:defRPr sz="1300"/>
            </a:lvl2pPr>
            <a:lvl3pPr marL="684569" indent="0">
              <a:buNone/>
              <a:defRPr sz="1200"/>
            </a:lvl3pPr>
            <a:lvl4pPr marL="1026852" indent="0">
              <a:buNone/>
              <a:defRPr sz="1000"/>
            </a:lvl4pPr>
            <a:lvl5pPr marL="1369136" indent="0">
              <a:buNone/>
              <a:defRPr sz="1000"/>
            </a:lvl5pPr>
            <a:lvl6pPr marL="1711415" indent="0">
              <a:buNone/>
              <a:defRPr sz="1000"/>
            </a:lvl6pPr>
            <a:lvl7pPr marL="2053706" indent="0">
              <a:buNone/>
              <a:defRPr sz="1000"/>
            </a:lvl7pPr>
            <a:lvl8pPr marL="2395982" indent="0">
              <a:buNone/>
              <a:defRPr sz="1000"/>
            </a:lvl8pPr>
            <a:lvl9pPr marL="2738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334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081092"/>
            <a:ext cx="4151315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688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361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7525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7192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688" marR="0" lvl="5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361" marR="0" lvl="6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525" marR="0" lvl="7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192" marR="0" lvl="8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10" y="1081092"/>
            <a:ext cx="4152528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688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361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7525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7192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688" marR="0" lvl="5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361" marR="0" lvl="6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525" marR="0" lvl="7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192" marR="0" lvl="8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95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284" indent="0">
              <a:buNone/>
              <a:defRPr sz="1500" b="1"/>
            </a:lvl2pPr>
            <a:lvl3pPr marL="684569" indent="0">
              <a:buNone/>
              <a:defRPr sz="1300" b="1"/>
            </a:lvl3pPr>
            <a:lvl4pPr marL="1026852" indent="0">
              <a:buNone/>
              <a:defRPr sz="1200" b="1"/>
            </a:lvl4pPr>
            <a:lvl5pPr marL="1369136" indent="0">
              <a:buNone/>
              <a:defRPr sz="1200" b="1"/>
            </a:lvl5pPr>
            <a:lvl6pPr marL="1711415" indent="0">
              <a:buNone/>
              <a:defRPr sz="1200" b="1"/>
            </a:lvl6pPr>
            <a:lvl7pPr marL="2053706" indent="0">
              <a:buNone/>
              <a:defRPr sz="1200" b="1"/>
            </a:lvl7pPr>
            <a:lvl8pPr marL="2395982" indent="0">
              <a:buNone/>
              <a:defRPr sz="1200" b="1"/>
            </a:lvl8pPr>
            <a:lvl9pPr marL="273827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163115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688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361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7525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7192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688" marR="0" lvl="5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361" marR="0" lvl="6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525" marR="0" lvl="7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192" marR="0" lvl="8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284" indent="0">
              <a:buNone/>
              <a:defRPr sz="1500" b="1"/>
            </a:lvl2pPr>
            <a:lvl3pPr marL="684569" indent="0">
              <a:buNone/>
              <a:defRPr sz="1300" b="1"/>
            </a:lvl3pPr>
            <a:lvl4pPr marL="1026852" indent="0">
              <a:buNone/>
              <a:defRPr sz="1200" b="1"/>
            </a:lvl4pPr>
            <a:lvl5pPr marL="1369136" indent="0">
              <a:buNone/>
              <a:defRPr sz="1200" b="1"/>
            </a:lvl5pPr>
            <a:lvl6pPr marL="1711415" indent="0">
              <a:buNone/>
              <a:defRPr sz="1200" b="1"/>
            </a:lvl6pPr>
            <a:lvl7pPr marL="2053706" indent="0">
              <a:buNone/>
              <a:defRPr sz="1200" b="1"/>
            </a:lvl7pPr>
            <a:lvl8pPr marL="2395982" indent="0">
              <a:buNone/>
              <a:defRPr sz="1200" b="1"/>
            </a:lvl8pPr>
            <a:lvl9pPr marL="273827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162480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688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361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7525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7192" marR="0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688" marR="0" lvl="5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361" marR="0" lvl="6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525" marR="0" lvl="7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192" marR="0" lvl="8" indent="-213924" algn="l" defTabSz="6845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36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74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0" y="1072754"/>
            <a:ext cx="8527870" cy="3713559"/>
          </a:xfrm>
        </p:spPr>
        <p:txBody>
          <a:bodyPr/>
          <a:lstStyle>
            <a:lvl1pPr marL="0" indent="0">
              <a:buNone/>
              <a:defRPr sz="2400"/>
            </a:lvl1pPr>
            <a:lvl2pPr marL="342284" indent="0">
              <a:buNone/>
              <a:defRPr sz="2100"/>
            </a:lvl2pPr>
            <a:lvl3pPr marL="684569" indent="0">
              <a:buNone/>
              <a:defRPr sz="1800"/>
            </a:lvl3pPr>
            <a:lvl4pPr marL="1026852" indent="0">
              <a:buNone/>
              <a:defRPr sz="1500"/>
            </a:lvl4pPr>
            <a:lvl5pPr marL="1369136" indent="0">
              <a:buNone/>
              <a:defRPr sz="1500"/>
            </a:lvl5pPr>
            <a:lvl6pPr marL="1711415" indent="0">
              <a:buNone/>
              <a:defRPr sz="1500"/>
            </a:lvl6pPr>
            <a:lvl7pPr marL="2053706" indent="0">
              <a:buNone/>
              <a:defRPr sz="1500"/>
            </a:lvl7pPr>
            <a:lvl8pPr marL="2395982" indent="0">
              <a:buNone/>
              <a:defRPr sz="1500"/>
            </a:lvl8pPr>
            <a:lvl9pPr marL="2738274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88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072756"/>
            <a:ext cx="8534400" cy="3721496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3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16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21" y="2230844"/>
            <a:ext cx="7655803" cy="506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3967163"/>
            <a:ext cx="7678738" cy="16158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00" b="1" baseline="0">
                <a:latin typeface="+mn-lt"/>
              </a:defRPr>
            </a:lvl1pPr>
            <a:lvl2pPr marL="199668" indent="0">
              <a:buFontTx/>
              <a:buNone/>
              <a:defRPr sz="1300">
                <a:latin typeface="+mn-lt"/>
              </a:defRPr>
            </a:lvl2pPr>
            <a:lvl3pPr marL="405269" indent="0">
              <a:buFontTx/>
              <a:buNone/>
              <a:defRPr sz="1300">
                <a:latin typeface="+mn-lt"/>
              </a:defRPr>
            </a:lvl3pPr>
            <a:lvl4pPr marL="604929" indent="0">
              <a:buFontTx/>
              <a:buNone/>
              <a:defRPr sz="1300">
                <a:latin typeface="+mn-lt"/>
              </a:defRPr>
            </a:lvl4pPr>
            <a:lvl5pPr marL="804606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4138814"/>
            <a:ext cx="7678738" cy="1615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 b="1"/>
            </a:lvl1pPr>
            <a:lvl2pPr marL="199668" indent="0">
              <a:buFontTx/>
              <a:buNone/>
              <a:defRPr sz="1000"/>
            </a:lvl2pPr>
            <a:lvl3pPr marL="405269" indent="0">
              <a:buFontTx/>
              <a:buNone/>
              <a:defRPr sz="1000"/>
            </a:lvl3pPr>
            <a:lvl4pPr marL="604929" indent="0">
              <a:buFontTx/>
              <a:buNone/>
              <a:defRPr sz="1000"/>
            </a:lvl4pPr>
            <a:lvl5pPr marL="804606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579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31" y="1049274"/>
            <a:ext cx="8273143" cy="369646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700" dirty="0" smtClean="0"/>
            </a:lvl1pPr>
            <a:lvl2pPr>
              <a:defRPr lang="en-US" sz="1700" dirty="0" smtClean="0"/>
            </a:lvl2pPr>
            <a:lvl3pPr>
              <a:defRPr lang="en-US" sz="1700" dirty="0" smtClean="0"/>
            </a:lvl3pPr>
            <a:lvl4pPr>
              <a:defRPr lang="en-US" sz="1700" dirty="0" smtClean="0"/>
            </a:lvl4pPr>
            <a:lvl5pPr>
              <a:defRPr lang="en-US" sz="1700" dirty="0" smtClean="0"/>
            </a:lvl5pPr>
            <a:lvl6pPr>
              <a:defRPr lang="en-US" sz="1700" dirty="0" smtClean="0"/>
            </a:lvl6pPr>
            <a:lvl7pPr>
              <a:defRPr lang="en-US" sz="1700" dirty="0" smtClean="0"/>
            </a:lvl7pPr>
            <a:lvl8pPr>
              <a:defRPr lang="en-US" sz="1700" dirty="0" smtClean="0"/>
            </a:lvl8pPr>
            <a:lvl9pPr>
              <a:defRPr lang="en-US" sz="17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65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5131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71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135" indent="-171135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3897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37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70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</p:spPr>
        <p:txBody>
          <a:bodyPr bIns="467259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</p:spPr>
        <p:txBody>
          <a:bodyPr bIns="467259" anchor="ctr">
            <a:normAutofit/>
          </a:bodyPr>
          <a:lstStyle>
            <a:lvl1pPr marL="0" marR="0" indent="0" algn="ctr" defTabSz="4564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</p:spPr>
        <p:txBody>
          <a:bodyPr bIns="467259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</p:spPr>
        <p:txBody>
          <a:bodyPr bIns="467259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607"/>
            <a:ext cx="1220787" cy="1004887"/>
          </a:xfrm>
        </p:spPr>
        <p:txBody>
          <a:bodyPr lIns="71886" tIns="35943" rIns="71886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607"/>
            <a:ext cx="1220786" cy="1004887"/>
          </a:xfrm>
        </p:spPr>
        <p:txBody>
          <a:bodyPr lIns="71886" tIns="35943" rIns="71886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607"/>
            <a:ext cx="1220786" cy="1004887"/>
          </a:xfrm>
        </p:spPr>
        <p:txBody>
          <a:bodyPr lIns="71886" tIns="35943" rIns="71886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607"/>
            <a:ext cx="1220787" cy="1004887"/>
          </a:xfrm>
        </p:spPr>
        <p:txBody>
          <a:bodyPr lIns="71886" tIns="35943" rIns="71886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7075" y="4924446"/>
            <a:ext cx="269965" cy="111919"/>
          </a:xfrm>
        </p:spPr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25" name="citextline"/>
          <p:cNvCxnSpPr/>
          <p:nvPr userDrawn="1"/>
        </p:nvCxnSpPr>
        <p:spPr bwMode="auto">
          <a:xfrm>
            <a:off x="304801" y="4860022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02361" y="234574"/>
            <a:ext cx="7656204" cy="269267"/>
          </a:xfrm>
        </p:spPr>
        <p:txBody>
          <a:bodyPr/>
          <a:lstStyle>
            <a:lvl1pPr>
              <a:tabLst>
                <a:tab pos="2705131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61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912384" y="290047"/>
            <a:ext cx="950978" cy="586271"/>
            <a:chOff x="0" y="384"/>
            <a:chExt cx="5760" cy="3551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1966" y="633"/>
              <a:ext cx="609" cy="595"/>
            </a:xfrm>
            <a:custGeom>
              <a:avLst/>
              <a:gdLst>
                <a:gd name="T0" fmla="*/ 71 w 88"/>
                <a:gd name="T1" fmla="*/ 0 h 86"/>
                <a:gd name="T2" fmla="*/ 60 w 88"/>
                <a:gd name="T3" fmla="*/ 8 h 86"/>
                <a:gd name="T4" fmla="*/ 72 w 88"/>
                <a:gd name="T5" fmla="*/ 36 h 86"/>
                <a:gd name="T6" fmla="*/ 37 w 88"/>
                <a:gd name="T7" fmla="*/ 72 h 86"/>
                <a:gd name="T8" fmla="*/ 9 w 88"/>
                <a:gd name="T9" fmla="*/ 59 h 86"/>
                <a:gd name="T10" fmla="*/ 5 w 88"/>
                <a:gd name="T11" fmla="*/ 63 h 86"/>
                <a:gd name="T12" fmla="*/ 0 w 88"/>
                <a:gd name="T13" fmla="*/ 71 h 86"/>
                <a:gd name="T14" fmla="*/ 37 w 88"/>
                <a:gd name="T15" fmla="*/ 86 h 86"/>
                <a:gd name="T16" fmla="*/ 88 w 88"/>
                <a:gd name="T17" fmla="*/ 36 h 86"/>
                <a:gd name="T18" fmla="*/ 71 w 88"/>
                <a:gd name="T1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6">
                  <a:moveTo>
                    <a:pt x="71" y="0"/>
                  </a:moveTo>
                  <a:cubicBezTo>
                    <a:pt x="67" y="2"/>
                    <a:pt x="63" y="5"/>
                    <a:pt x="60" y="8"/>
                  </a:cubicBezTo>
                  <a:cubicBezTo>
                    <a:pt x="68" y="15"/>
                    <a:pt x="72" y="25"/>
                    <a:pt x="72" y="36"/>
                  </a:cubicBezTo>
                  <a:cubicBezTo>
                    <a:pt x="72" y="56"/>
                    <a:pt x="58" y="72"/>
                    <a:pt x="37" y="72"/>
                  </a:cubicBezTo>
                  <a:cubicBezTo>
                    <a:pt x="25" y="72"/>
                    <a:pt x="15" y="67"/>
                    <a:pt x="9" y="59"/>
                  </a:cubicBezTo>
                  <a:cubicBezTo>
                    <a:pt x="8" y="60"/>
                    <a:pt x="6" y="62"/>
                    <a:pt x="5" y="63"/>
                  </a:cubicBezTo>
                  <a:cubicBezTo>
                    <a:pt x="3" y="66"/>
                    <a:pt x="2" y="68"/>
                    <a:pt x="0" y="71"/>
                  </a:cubicBezTo>
                  <a:cubicBezTo>
                    <a:pt x="9" y="80"/>
                    <a:pt x="22" y="86"/>
                    <a:pt x="37" y="86"/>
                  </a:cubicBezTo>
                  <a:cubicBezTo>
                    <a:pt x="65" y="86"/>
                    <a:pt x="88" y="64"/>
                    <a:pt x="88" y="36"/>
                  </a:cubicBezTo>
                  <a:cubicBezTo>
                    <a:pt x="88" y="22"/>
                    <a:pt x="81" y="9"/>
                    <a:pt x="7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682" y="1491"/>
              <a:ext cx="263" cy="616"/>
            </a:xfrm>
            <a:custGeom>
              <a:avLst/>
              <a:gdLst>
                <a:gd name="T0" fmla="*/ 22 w 38"/>
                <a:gd name="T1" fmla="*/ 41 h 89"/>
                <a:gd name="T2" fmla="*/ 0 w 38"/>
                <a:gd name="T3" fmla="*/ 75 h 89"/>
                <a:gd name="T4" fmla="*/ 0 w 38"/>
                <a:gd name="T5" fmla="*/ 83 h 89"/>
                <a:gd name="T6" fmla="*/ 0 w 38"/>
                <a:gd name="T7" fmla="*/ 89 h 89"/>
                <a:gd name="T8" fmla="*/ 38 w 38"/>
                <a:gd name="T9" fmla="*/ 41 h 89"/>
                <a:gd name="T10" fmla="*/ 14 w 38"/>
                <a:gd name="T11" fmla="*/ 0 h 89"/>
                <a:gd name="T12" fmla="*/ 10 w 38"/>
                <a:gd name="T13" fmla="*/ 14 h 89"/>
                <a:gd name="T14" fmla="*/ 22 w 38"/>
                <a:gd name="T15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9">
                  <a:moveTo>
                    <a:pt x="22" y="41"/>
                  </a:moveTo>
                  <a:cubicBezTo>
                    <a:pt x="22" y="56"/>
                    <a:pt x="14" y="69"/>
                    <a:pt x="0" y="75"/>
                  </a:cubicBezTo>
                  <a:cubicBezTo>
                    <a:pt x="0" y="77"/>
                    <a:pt x="0" y="80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22" y="84"/>
                    <a:pt x="38" y="65"/>
                    <a:pt x="38" y="41"/>
                  </a:cubicBezTo>
                  <a:cubicBezTo>
                    <a:pt x="38" y="24"/>
                    <a:pt x="28" y="9"/>
                    <a:pt x="14" y="0"/>
                  </a:cubicBezTo>
                  <a:cubicBezTo>
                    <a:pt x="13" y="4"/>
                    <a:pt x="11" y="9"/>
                    <a:pt x="10" y="14"/>
                  </a:cubicBezTo>
                  <a:cubicBezTo>
                    <a:pt x="18" y="20"/>
                    <a:pt x="22" y="31"/>
                    <a:pt x="22" y="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1710" y="2336"/>
              <a:ext cx="485" cy="664"/>
            </a:xfrm>
            <a:custGeom>
              <a:avLst/>
              <a:gdLst>
                <a:gd name="T0" fmla="*/ 19 w 70"/>
                <a:gd name="T1" fmla="*/ 14 h 96"/>
                <a:gd name="T2" fmla="*/ 55 w 70"/>
                <a:gd name="T3" fmla="*/ 49 h 96"/>
                <a:gd name="T4" fmla="*/ 29 w 70"/>
                <a:gd name="T5" fmla="*/ 84 h 96"/>
                <a:gd name="T6" fmla="*/ 37 w 70"/>
                <a:gd name="T7" fmla="*/ 96 h 96"/>
                <a:gd name="T8" fmla="*/ 70 w 70"/>
                <a:gd name="T9" fmla="*/ 49 h 96"/>
                <a:gd name="T10" fmla="*/ 19 w 70"/>
                <a:gd name="T11" fmla="*/ 0 h 96"/>
                <a:gd name="T12" fmla="*/ 0 w 70"/>
                <a:gd name="T13" fmla="*/ 4 h 96"/>
                <a:gd name="T14" fmla="*/ 3 w 70"/>
                <a:gd name="T15" fmla="*/ 17 h 96"/>
                <a:gd name="T16" fmla="*/ 19 w 70"/>
                <a:gd name="T17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96">
                  <a:moveTo>
                    <a:pt x="19" y="14"/>
                  </a:moveTo>
                  <a:cubicBezTo>
                    <a:pt x="42" y="14"/>
                    <a:pt x="55" y="30"/>
                    <a:pt x="55" y="49"/>
                  </a:cubicBezTo>
                  <a:cubicBezTo>
                    <a:pt x="55" y="66"/>
                    <a:pt x="45" y="80"/>
                    <a:pt x="29" y="84"/>
                  </a:cubicBezTo>
                  <a:cubicBezTo>
                    <a:pt x="31" y="88"/>
                    <a:pt x="34" y="92"/>
                    <a:pt x="37" y="96"/>
                  </a:cubicBezTo>
                  <a:cubicBezTo>
                    <a:pt x="56" y="89"/>
                    <a:pt x="70" y="71"/>
                    <a:pt x="70" y="49"/>
                  </a:cubicBezTo>
                  <a:cubicBezTo>
                    <a:pt x="70" y="22"/>
                    <a:pt x="47" y="0"/>
                    <a:pt x="19" y="0"/>
                  </a:cubicBezTo>
                  <a:cubicBezTo>
                    <a:pt x="12" y="0"/>
                    <a:pt x="6" y="1"/>
                    <a:pt x="0" y="4"/>
                  </a:cubicBezTo>
                  <a:cubicBezTo>
                    <a:pt x="0" y="8"/>
                    <a:pt x="1" y="13"/>
                    <a:pt x="3" y="17"/>
                  </a:cubicBezTo>
                  <a:cubicBezTo>
                    <a:pt x="7" y="15"/>
                    <a:pt x="13" y="14"/>
                    <a:pt x="19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3157" y="2350"/>
              <a:ext cx="512" cy="671"/>
            </a:xfrm>
            <a:custGeom>
              <a:avLst/>
              <a:gdLst>
                <a:gd name="T0" fmla="*/ 58 w 74"/>
                <a:gd name="T1" fmla="*/ 0 h 97"/>
                <a:gd name="T2" fmla="*/ 58 w 74"/>
                <a:gd name="T3" fmla="*/ 57 h 97"/>
                <a:gd name="T4" fmla="*/ 37 w 74"/>
                <a:gd name="T5" fmla="*/ 83 h 97"/>
                <a:gd name="T6" fmla="*/ 16 w 74"/>
                <a:gd name="T7" fmla="*/ 57 h 97"/>
                <a:gd name="T8" fmla="*/ 16 w 74"/>
                <a:gd name="T9" fmla="*/ 0 h 97"/>
                <a:gd name="T10" fmla="*/ 0 w 74"/>
                <a:gd name="T11" fmla="*/ 0 h 97"/>
                <a:gd name="T12" fmla="*/ 0 w 74"/>
                <a:gd name="T13" fmla="*/ 60 h 97"/>
                <a:gd name="T14" fmla="*/ 37 w 74"/>
                <a:gd name="T15" fmla="*/ 97 h 97"/>
                <a:gd name="T16" fmla="*/ 74 w 74"/>
                <a:gd name="T17" fmla="*/ 60 h 97"/>
                <a:gd name="T18" fmla="*/ 74 w 74"/>
                <a:gd name="T19" fmla="*/ 0 h 97"/>
                <a:gd name="T20" fmla="*/ 58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58" y="0"/>
                  </a:moveTo>
                  <a:cubicBezTo>
                    <a:pt x="58" y="57"/>
                    <a:pt x="58" y="57"/>
                    <a:pt x="58" y="57"/>
                  </a:cubicBezTo>
                  <a:cubicBezTo>
                    <a:pt x="58" y="71"/>
                    <a:pt x="54" y="83"/>
                    <a:pt x="37" y="83"/>
                  </a:cubicBezTo>
                  <a:cubicBezTo>
                    <a:pt x="20" y="83"/>
                    <a:pt x="16" y="71"/>
                    <a:pt x="16" y="5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81"/>
                    <a:pt x="13" y="97"/>
                    <a:pt x="37" y="97"/>
                  </a:cubicBezTo>
                  <a:cubicBezTo>
                    <a:pt x="61" y="97"/>
                    <a:pt x="74" y="81"/>
                    <a:pt x="74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874" y="1450"/>
              <a:ext cx="111" cy="6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4"/>
            <p:cNvSpPr>
              <a:spLocks noEditPoints="1"/>
            </p:cNvSpPr>
            <p:nvPr/>
          </p:nvSpPr>
          <p:spPr bwMode="auto">
            <a:xfrm>
              <a:off x="2430" y="2350"/>
              <a:ext cx="505" cy="657"/>
            </a:xfrm>
            <a:custGeom>
              <a:avLst/>
              <a:gdLst>
                <a:gd name="T0" fmla="*/ 26 w 73"/>
                <a:gd name="T1" fmla="*/ 0 h 95"/>
                <a:gd name="T2" fmla="*/ 53 w 73"/>
                <a:gd name="T3" fmla="*/ 4 h 95"/>
                <a:gd name="T4" fmla="*/ 65 w 73"/>
                <a:gd name="T5" fmla="*/ 27 h 95"/>
                <a:gd name="T6" fmla="*/ 42 w 73"/>
                <a:gd name="T7" fmla="*/ 53 h 95"/>
                <a:gd name="T8" fmla="*/ 73 w 73"/>
                <a:gd name="T9" fmla="*/ 95 h 95"/>
                <a:gd name="T10" fmla="*/ 55 w 73"/>
                <a:gd name="T11" fmla="*/ 95 h 95"/>
                <a:gd name="T12" fmla="*/ 26 w 73"/>
                <a:gd name="T13" fmla="*/ 55 h 95"/>
                <a:gd name="T14" fmla="*/ 16 w 73"/>
                <a:gd name="T15" fmla="*/ 55 h 95"/>
                <a:gd name="T16" fmla="*/ 16 w 73"/>
                <a:gd name="T17" fmla="*/ 95 h 95"/>
                <a:gd name="T18" fmla="*/ 0 w 73"/>
                <a:gd name="T19" fmla="*/ 95 h 95"/>
                <a:gd name="T20" fmla="*/ 0 w 73"/>
                <a:gd name="T21" fmla="*/ 0 h 95"/>
                <a:gd name="T22" fmla="*/ 26 w 73"/>
                <a:gd name="T23" fmla="*/ 0 h 95"/>
                <a:gd name="T24" fmla="*/ 16 w 73"/>
                <a:gd name="T25" fmla="*/ 42 h 95"/>
                <a:gd name="T26" fmla="*/ 23 w 73"/>
                <a:gd name="T27" fmla="*/ 42 h 95"/>
                <a:gd name="T28" fmla="*/ 50 w 73"/>
                <a:gd name="T29" fmla="*/ 27 h 95"/>
                <a:gd name="T30" fmla="*/ 22 w 73"/>
                <a:gd name="T31" fmla="*/ 13 h 95"/>
                <a:gd name="T32" fmla="*/ 16 w 73"/>
                <a:gd name="T33" fmla="*/ 13 h 95"/>
                <a:gd name="T34" fmla="*/ 16 w 73"/>
                <a:gd name="T3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95">
                  <a:moveTo>
                    <a:pt x="26" y="0"/>
                  </a:moveTo>
                  <a:cubicBezTo>
                    <a:pt x="35" y="0"/>
                    <a:pt x="45" y="0"/>
                    <a:pt x="53" y="4"/>
                  </a:cubicBezTo>
                  <a:cubicBezTo>
                    <a:pt x="61" y="9"/>
                    <a:pt x="65" y="18"/>
                    <a:pt x="65" y="27"/>
                  </a:cubicBezTo>
                  <a:cubicBezTo>
                    <a:pt x="65" y="40"/>
                    <a:pt x="56" y="52"/>
                    <a:pt x="42" y="53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16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35" y="42"/>
                    <a:pt x="50" y="42"/>
                    <a:pt x="50" y="27"/>
                  </a:cubicBezTo>
                  <a:cubicBezTo>
                    <a:pt x="50" y="12"/>
                    <a:pt x="34" y="13"/>
                    <a:pt x="22" y="13"/>
                  </a:cubicBezTo>
                  <a:cubicBezTo>
                    <a:pt x="16" y="13"/>
                    <a:pt x="16" y="13"/>
                    <a:pt x="16" y="13"/>
                  </a:cubicBezTo>
                  <a:lnTo>
                    <a:pt x="1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auto">
            <a:xfrm>
              <a:off x="2804" y="550"/>
              <a:ext cx="498" cy="665"/>
            </a:xfrm>
            <a:custGeom>
              <a:avLst/>
              <a:gdLst>
                <a:gd name="T0" fmla="*/ 25 w 72"/>
                <a:gd name="T1" fmla="*/ 0 h 96"/>
                <a:gd name="T2" fmla="*/ 52 w 72"/>
                <a:gd name="T3" fmla="*/ 5 h 96"/>
                <a:gd name="T4" fmla="*/ 65 w 72"/>
                <a:gd name="T5" fmla="*/ 28 h 96"/>
                <a:gd name="T6" fmla="*/ 41 w 72"/>
                <a:gd name="T7" fmla="*/ 54 h 96"/>
                <a:gd name="T8" fmla="*/ 72 w 72"/>
                <a:gd name="T9" fmla="*/ 96 h 96"/>
                <a:gd name="T10" fmla="*/ 54 w 72"/>
                <a:gd name="T11" fmla="*/ 96 h 96"/>
                <a:gd name="T12" fmla="*/ 26 w 72"/>
                <a:gd name="T13" fmla="*/ 55 h 96"/>
                <a:gd name="T14" fmla="*/ 15 w 72"/>
                <a:gd name="T15" fmla="*/ 55 h 96"/>
                <a:gd name="T16" fmla="*/ 15 w 72"/>
                <a:gd name="T17" fmla="*/ 96 h 96"/>
                <a:gd name="T18" fmla="*/ 0 w 72"/>
                <a:gd name="T19" fmla="*/ 96 h 96"/>
                <a:gd name="T20" fmla="*/ 0 w 72"/>
                <a:gd name="T21" fmla="*/ 0 h 96"/>
                <a:gd name="T22" fmla="*/ 25 w 72"/>
                <a:gd name="T23" fmla="*/ 0 h 96"/>
                <a:gd name="T24" fmla="*/ 15 w 72"/>
                <a:gd name="T25" fmla="*/ 43 h 96"/>
                <a:gd name="T26" fmla="*/ 22 w 72"/>
                <a:gd name="T27" fmla="*/ 43 h 96"/>
                <a:gd name="T28" fmla="*/ 50 w 72"/>
                <a:gd name="T29" fmla="*/ 28 h 96"/>
                <a:gd name="T30" fmla="*/ 22 w 72"/>
                <a:gd name="T31" fmla="*/ 14 h 96"/>
                <a:gd name="T32" fmla="*/ 15 w 72"/>
                <a:gd name="T33" fmla="*/ 14 h 96"/>
                <a:gd name="T34" fmla="*/ 15 w 72"/>
                <a:gd name="T35" fmla="*/ 4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6">
                  <a:moveTo>
                    <a:pt x="25" y="0"/>
                  </a:moveTo>
                  <a:cubicBezTo>
                    <a:pt x="34" y="0"/>
                    <a:pt x="44" y="1"/>
                    <a:pt x="52" y="5"/>
                  </a:cubicBezTo>
                  <a:cubicBezTo>
                    <a:pt x="60" y="10"/>
                    <a:pt x="65" y="19"/>
                    <a:pt x="65" y="28"/>
                  </a:cubicBezTo>
                  <a:cubicBezTo>
                    <a:pt x="65" y="41"/>
                    <a:pt x="55" y="53"/>
                    <a:pt x="41" y="54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15" y="43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35" y="43"/>
                    <a:pt x="50" y="43"/>
                    <a:pt x="50" y="28"/>
                  </a:cubicBezTo>
                  <a:cubicBezTo>
                    <a:pt x="50" y="13"/>
                    <a:pt x="34" y="14"/>
                    <a:pt x="22" y="14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1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 noEditPoints="1"/>
            </p:cNvSpPr>
            <p:nvPr/>
          </p:nvSpPr>
          <p:spPr bwMode="auto">
            <a:xfrm>
              <a:off x="4140" y="557"/>
              <a:ext cx="554" cy="658"/>
            </a:xfrm>
            <a:custGeom>
              <a:avLst/>
              <a:gdLst>
                <a:gd name="T0" fmla="*/ 15 w 80"/>
                <a:gd name="T1" fmla="*/ 81 h 95"/>
                <a:gd name="T2" fmla="*/ 24 w 80"/>
                <a:gd name="T3" fmla="*/ 81 h 95"/>
                <a:gd name="T4" fmla="*/ 65 w 80"/>
                <a:gd name="T5" fmla="*/ 47 h 95"/>
                <a:gd name="T6" fmla="*/ 24 w 80"/>
                <a:gd name="T7" fmla="*/ 13 h 95"/>
                <a:gd name="T8" fmla="*/ 15 w 80"/>
                <a:gd name="T9" fmla="*/ 13 h 95"/>
                <a:gd name="T10" fmla="*/ 15 w 80"/>
                <a:gd name="T11" fmla="*/ 81 h 95"/>
                <a:gd name="T12" fmla="*/ 0 w 80"/>
                <a:gd name="T13" fmla="*/ 0 h 95"/>
                <a:gd name="T14" fmla="*/ 26 w 80"/>
                <a:gd name="T15" fmla="*/ 0 h 95"/>
                <a:gd name="T16" fmla="*/ 80 w 80"/>
                <a:gd name="T17" fmla="*/ 47 h 95"/>
                <a:gd name="T18" fmla="*/ 25 w 80"/>
                <a:gd name="T19" fmla="*/ 95 h 95"/>
                <a:gd name="T20" fmla="*/ 0 w 80"/>
                <a:gd name="T21" fmla="*/ 95 h 95"/>
                <a:gd name="T22" fmla="*/ 0 w 80"/>
                <a:gd name="T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5">
                  <a:moveTo>
                    <a:pt x="15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45" y="81"/>
                    <a:pt x="65" y="74"/>
                    <a:pt x="65" y="47"/>
                  </a:cubicBezTo>
                  <a:cubicBezTo>
                    <a:pt x="65" y="19"/>
                    <a:pt x="45" y="13"/>
                    <a:pt x="2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81"/>
                    <a:pt x="15" y="81"/>
                    <a:pt x="15" y="81"/>
                  </a:cubicBezTo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56" y="0"/>
                    <a:pt x="80" y="14"/>
                    <a:pt x="80" y="47"/>
                  </a:cubicBezTo>
                  <a:cubicBezTo>
                    <a:pt x="80" y="80"/>
                    <a:pt x="56" y="95"/>
                    <a:pt x="25" y="95"/>
                  </a:cubicBezTo>
                  <a:cubicBezTo>
                    <a:pt x="0" y="95"/>
                    <a:pt x="0" y="95"/>
                    <a:pt x="0" y="95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auto">
            <a:xfrm>
              <a:off x="5227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9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4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588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8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3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 noEditPoints="1"/>
            </p:cNvSpPr>
            <p:nvPr/>
          </p:nvSpPr>
          <p:spPr bwMode="auto">
            <a:xfrm>
              <a:off x="1239" y="384"/>
              <a:ext cx="3441" cy="3551"/>
            </a:xfrm>
            <a:custGeom>
              <a:avLst/>
              <a:gdLst>
                <a:gd name="T0" fmla="*/ 491 w 497"/>
                <a:gd name="T1" fmla="*/ 443 h 513"/>
                <a:gd name="T2" fmla="*/ 491 w 497"/>
                <a:gd name="T3" fmla="*/ 443 h 513"/>
                <a:gd name="T4" fmla="*/ 487 w 497"/>
                <a:gd name="T5" fmla="*/ 439 h 513"/>
                <a:gd name="T6" fmla="*/ 320 w 497"/>
                <a:gd name="T7" fmla="*/ 498 h 513"/>
                <a:gd name="T8" fmla="*/ 135 w 497"/>
                <a:gd name="T9" fmla="*/ 423 h 513"/>
                <a:gd name="T10" fmla="*/ 59 w 497"/>
                <a:gd name="T11" fmla="*/ 243 h 513"/>
                <a:gd name="T12" fmla="*/ 106 w 497"/>
                <a:gd name="T13" fmla="*/ 97 h 513"/>
                <a:gd name="T14" fmla="*/ 227 w 497"/>
                <a:gd name="T15" fmla="*/ 4 h 513"/>
                <a:gd name="T16" fmla="*/ 225 w 497"/>
                <a:gd name="T17" fmla="*/ 0 h 513"/>
                <a:gd name="T18" fmla="*/ 167 w 497"/>
                <a:gd name="T19" fmla="*/ 29 h 513"/>
                <a:gd name="T20" fmla="*/ 142 w 497"/>
                <a:gd name="T21" fmla="*/ 23 h 513"/>
                <a:gd name="T22" fmla="*/ 91 w 497"/>
                <a:gd name="T23" fmla="*/ 72 h 513"/>
                <a:gd name="T24" fmla="*/ 98 w 497"/>
                <a:gd name="T25" fmla="*/ 98 h 513"/>
                <a:gd name="T26" fmla="*/ 69 w 497"/>
                <a:gd name="T27" fmla="*/ 155 h 513"/>
                <a:gd name="T28" fmla="*/ 51 w 497"/>
                <a:gd name="T29" fmla="*/ 152 h 513"/>
                <a:gd name="T30" fmla="*/ 0 w 497"/>
                <a:gd name="T31" fmla="*/ 201 h 513"/>
                <a:gd name="T32" fmla="*/ 51 w 497"/>
                <a:gd name="T33" fmla="*/ 251 h 513"/>
                <a:gd name="T34" fmla="*/ 54 w 497"/>
                <a:gd name="T35" fmla="*/ 251 h 513"/>
                <a:gd name="T36" fmla="*/ 58 w 497"/>
                <a:gd name="T37" fmla="*/ 291 h 513"/>
                <a:gd name="T38" fmla="*/ 36 w 497"/>
                <a:gd name="T39" fmla="*/ 331 h 513"/>
                <a:gd name="T40" fmla="*/ 87 w 497"/>
                <a:gd name="T41" fmla="*/ 381 h 513"/>
                <a:gd name="T42" fmla="*/ 94 w 497"/>
                <a:gd name="T43" fmla="*/ 380 h 513"/>
                <a:gd name="T44" fmla="*/ 132 w 497"/>
                <a:gd name="T45" fmla="*/ 427 h 513"/>
                <a:gd name="T46" fmla="*/ 146 w 497"/>
                <a:gd name="T47" fmla="*/ 440 h 513"/>
                <a:gd name="T48" fmla="*/ 140 w 497"/>
                <a:gd name="T49" fmla="*/ 448 h 513"/>
                <a:gd name="T50" fmla="*/ 320 w 497"/>
                <a:gd name="T51" fmla="*/ 513 h 513"/>
                <a:gd name="T52" fmla="*/ 497 w 497"/>
                <a:gd name="T53" fmla="*/ 450 h 513"/>
                <a:gd name="T54" fmla="*/ 491 w 497"/>
                <a:gd name="T55" fmla="*/ 443 h 513"/>
                <a:gd name="T56" fmla="*/ 142 w 497"/>
                <a:gd name="T57" fmla="*/ 37 h 513"/>
                <a:gd name="T58" fmla="*/ 155 w 497"/>
                <a:gd name="T59" fmla="*/ 39 h 513"/>
                <a:gd name="T60" fmla="*/ 108 w 497"/>
                <a:gd name="T61" fmla="*/ 85 h 513"/>
                <a:gd name="T62" fmla="*/ 106 w 497"/>
                <a:gd name="T63" fmla="*/ 72 h 513"/>
                <a:gd name="T64" fmla="*/ 142 w 497"/>
                <a:gd name="T65" fmla="*/ 37 h 513"/>
                <a:gd name="T66" fmla="*/ 15 w 497"/>
                <a:gd name="T67" fmla="*/ 201 h 513"/>
                <a:gd name="T68" fmla="*/ 51 w 497"/>
                <a:gd name="T69" fmla="*/ 166 h 513"/>
                <a:gd name="T70" fmla="*/ 65 w 497"/>
                <a:gd name="T71" fmla="*/ 168 h 513"/>
                <a:gd name="T72" fmla="*/ 54 w 497"/>
                <a:gd name="T73" fmla="*/ 237 h 513"/>
                <a:gd name="T74" fmla="*/ 51 w 497"/>
                <a:gd name="T75" fmla="*/ 237 h 513"/>
                <a:gd name="T76" fmla="*/ 15 w 497"/>
                <a:gd name="T77" fmla="*/ 201 h 513"/>
                <a:gd name="T78" fmla="*/ 52 w 497"/>
                <a:gd name="T79" fmla="*/ 331 h 513"/>
                <a:gd name="T80" fmla="*/ 61 w 497"/>
                <a:gd name="T81" fmla="*/ 306 h 513"/>
                <a:gd name="T82" fmla="*/ 86 w 497"/>
                <a:gd name="T83" fmla="*/ 367 h 513"/>
                <a:gd name="T84" fmla="*/ 52 w 497"/>
                <a:gd name="T85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7" h="513">
                  <a:moveTo>
                    <a:pt x="491" y="443"/>
                  </a:moveTo>
                  <a:cubicBezTo>
                    <a:pt x="491" y="443"/>
                    <a:pt x="491" y="443"/>
                    <a:pt x="491" y="443"/>
                  </a:cubicBezTo>
                  <a:cubicBezTo>
                    <a:pt x="487" y="439"/>
                    <a:pt x="487" y="439"/>
                    <a:pt x="487" y="439"/>
                  </a:cubicBezTo>
                  <a:cubicBezTo>
                    <a:pt x="440" y="477"/>
                    <a:pt x="381" y="498"/>
                    <a:pt x="320" y="498"/>
                  </a:cubicBezTo>
                  <a:cubicBezTo>
                    <a:pt x="250" y="498"/>
                    <a:pt x="185" y="471"/>
                    <a:pt x="135" y="423"/>
                  </a:cubicBezTo>
                  <a:cubicBezTo>
                    <a:pt x="86" y="375"/>
                    <a:pt x="59" y="311"/>
                    <a:pt x="59" y="243"/>
                  </a:cubicBezTo>
                  <a:cubicBezTo>
                    <a:pt x="59" y="190"/>
                    <a:pt x="75" y="140"/>
                    <a:pt x="106" y="97"/>
                  </a:cubicBezTo>
                  <a:cubicBezTo>
                    <a:pt x="136" y="54"/>
                    <a:pt x="178" y="23"/>
                    <a:pt x="227" y="4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4" y="7"/>
                    <a:pt x="185" y="17"/>
                    <a:pt x="167" y="29"/>
                  </a:cubicBezTo>
                  <a:cubicBezTo>
                    <a:pt x="160" y="25"/>
                    <a:pt x="151" y="23"/>
                    <a:pt x="142" y="23"/>
                  </a:cubicBezTo>
                  <a:cubicBezTo>
                    <a:pt x="114" y="23"/>
                    <a:pt x="91" y="45"/>
                    <a:pt x="91" y="72"/>
                  </a:cubicBezTo>
                  <a:cubicBezTo>
                    <a:pt x="91" y="82"/>
                    <a:pt x="93" y="91"/>
                    <a:pt x="98" y="98"/>
                  </a:cubicBezTo>
                  <a:cubicBezTo>
                    <a:pt x="86" y="116"/>
                    <a:pt x="76" y="135"/>
                    <a:pt x="69" y="155"/>
                  </a:cubicBezTo>
                  <a:cubicBezTo>
                    <a:pt x="63" y="153"/>
                    <a:pt x="57" y="152"/>
                    <a:pt x="51" y="152"/>
                  </a:cubicBezTo>
                  <a:cubicBezTo>
                    <a:pt x="23" y="152"/>
                    <a:pt x="0" y="174"/>
                    <a:pt x="0" y="201"/>
                  </a:cubicBezTo>
                  <a:cubicBezTo>
                    <a:pt x="0" y="230"/>
                    <a:pt x="23" y="251"/>
                    <a:pt x="51" y="251"/>
                  </a:cubicBezTo>
                  <a:cubicBezTo>
                    <a:pt x="52" y="251"/>
                    <a:pt x="53" y="251"/>
                    <a:pt x="54" y="251"/>
                  </a:cubicBezTo>
                  <a:cubicBezTo>
                    <a:pt x="54" y="264"/>
                    <a:pt x="56" y="278"/>
                    <a:pt x="58" y="291"/>
                  </a:cubicBezTo>
                  <a:cubicBezTo>
                    <a:pt x="45" y="300"/>
                    <a:pt x="36" y="315"/>
                    <a:pt x="36" y="331"/>
                  </a:cubicBezTo>
                  <a:cubicBezTo>
                    <a:pt x="36" y="360"/>
                    <a:pt x="59" y="381"/>
                    <a:pt x="87" y="381"/>
                  </a:cubicBezTo>
                  <a:cubicBezTo>
                    <a:pt x="90" y="381"/>
                    <a:pt x="92" y="381"/>
                    <a:pt x="94" y="380"/>
                  </a:cubicBezTo>
                  <a:cubicBezTo>
                    <a:pt x="104" y="397"/>
                    <a:pt x="117" y="413"/>
                    <a:pt x="132" y="427"/>
                  </a:cubicBezTo>
                  <a:cubicBezTo>
                    <a:pt x="136" y="431"/>
                    <a:pt x="141" y="436"/>
                    <a:pt x="146" y="440"/>
                  </a:cubicBezTo>
                  <a:cubicBezTo>
                    <a:pt x="140" y="448"/>
                    <a:pt x="140" y="448"/>
                    <a:pt x="140" y="448"/>
                  </a:cubicBezTo>
                  <a:cubicBezTo>
                    <a:pt x="190" y="490"/>
                    <a:pt x="254" y="513"/>
                    <a:pt x="320" y="513"/>
                  </a:cubicBezTo>
                  <a:cubicBezTo>
                    <a:pt x="385" y="513"/>
                    <a:pt x="448" y="491"/>
                    <a:pt x="497" y="450"/>
                  </a:cubicBezTo>
                  <a:lnTo>
                    <a:pt x="491" y="443"/>
                  </a:lnTo>
                  <a:close/>
                  <a:moveTo>
                    <a:pt x="142" y="37"/>
                  </a:moveTo>
                  <a:cubicBezTo>
                    <a:pt x="147" y="37"/>
                    <a:pt x="151" y="37"/>
                    <a:pt x="155" y="39"/>
                  </a:cubicBezTo>
                  <a:cubicBezTo>
                    <a:pt x="137" y="52"/>
                    <a:pt x="122" y="67"/>
                    <a:pt x="108" y="85"/>
                  </a:cubicBezTo>
                  <a:cubicBezTo>
                    <a:pt x="107" y="81"/>
                    <a:pt x="106" y="77"/>
                    <a:pt x="106" y="72"/>
                  </a:cubicBezTo>
                  <a:cubicBezTo>
                    <a:pt x="106" y="53"/>
                    <a:pt x="119" y="37"/>
                    <a:pt x="142" y="37"/>
                  </a:cubicBezTo>
                  <a:close/>
                  <a:moveTo>
                    <a:pt x="15" y="201"/>
                  </a:moveTo>
                  <a:cubicBezTo>
                    <a:pt x="15" y="183"/>
                    <a:pt x="28" y="166"/>
                    <a:pt x="51" y="166"/>
                  </a:cubicBezTo>
                  <a:cubicBezTo>
                    <a:pt x="56" y="166"/>
                    <a:pt x="61" y="167"/>
                    <a:pt x="65" y="168"/>
                  </a:cubicBezTo>
                  <a:cubicBezTo>
                    <a:pt x="58" y="190"/>
                    <a:pt x="54" y="213"/>
                    <a:pt x="54" y="237"/>
                  </a:cubicBezTo>
                  <a:cubicBezTo>
                    <a:pt x="53" y="237"/>
                    <a:pt x="52" y="237"/>
                    <a:pt x="51" y="237"/>
                  </a:cubicBezTo>
                  <a:cubicBezTo>
                    <a:pt x="30" y="237"/>
                    <a:pt x="15" y="221"/>
                    <a:pt x="15" y="201"/>
                  </a:cubicBezTo>
                  <a:close/>
                  <a:moveTo>
                    <a:pt x="52" y="331"/>
                  </a:moveTo>
                  <a:cubicBezTo>
                    <a:pt x="52" y="322"/>
                    <a:pt x="55" y="313"/>
                    <a:pt x="61" y="306"/>
                  </a:cubicBezTo>
                  <a:cubicBezTo>
                    <a:pt x="67" y="327"/>
                    <a:pt x="75" y="348"/>
                    <a:pt x="86" y="367"/>
                  </a:cubicBezTo>
                  <a:cubicBezTo>
                    <a:pt x="66" y="366"/>
                    <a:pt x="52" y="350"/>
                    <a:pt x="52" y="3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auto">
            <a:xfrm>
              <a:off x="2956" y="1436"/>
              <a:ext cx="706" cy="685"/>
            </a:xfrm>
            <a:custGeom>
              <a:avLst/>
              <a:gdLst>
                <a:gd name="T0" fmla="*/ 87 w 102"/>
                <a:gd name="T1" fmla="*/ 49 h 99"/>
                <a:gd name="T2" fmla="*/ 51 w 102"/>
                <a:gd name="T3" fmla="*/ 14 h 99"/>
                <a:gd name="T4" fmla="*/ 16 w 102"/>
                <a:gd name="T5" fmla="*/ 49 h 99"/>
                <a:gd name="T6" fmla="*/ 51 w 102"/>
                <a:gd name="T7" fmla="*/ 85 h 99"/>
                <a:gd name="T8" fmla="*/ 87 w 102"/>
                <a:gd name="T9" fmla="*/ 49 h 99"/>
                <a:gd name="T10" fmla="*/ 102 w 102"/>
                <a:gd name="T11" fmla="*/ 49 h 99"/>
                <a:gd name="T12" fmla="*/ 51 w 102"/>
                <a:gd name="T13" fmla="*/ 99 h 99"/>
                <a:gd name="T14" fmla="*/ 0 w 102"/>
                <a:gd name="T15" fmla="*/ 49 h 99"/>
                <a:gd name="T16" fmla="*/ 51 w 102"/>
                <a:gd name="T17" fmla="*/ 0 h 99"/>
                <a:gd name="T18" fmla="*/ 102 w 102"/>
                <a:gd name="T19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99">
                  <a:moveTo>
                    <a:pt x="87" y="49"/>
                  </a:moveTo>
                  <a:cubicBezTo>
                    <a:pt x="87" y="31"/>
                    <a:pt x="74" y="14"/>
                    <a:pt x="51" y="14"/>
                  </a:cubicBezTo>
                  <a:cubicBezTo>
                    <a:pt x="28" y="14"/>
                    <a:pt x="16" y="31"/>
                    <a:pt x="16" y="49"/>
                  </a:cubicBezTo>
                  <a:cubicBezTo>
                    <a:pt x="16" y="69"/>
                    <a:pt x="30" y="85"/>
                    <a:pt x="51" y="85"/>
                  </a:cubicBezTo>
                  <a:cubicBezTo>
                    <a:pt x="72" y="85"/>
                    <a:pt x="87" y="69"/>
                    <a:pt x="87" y="49"/>
                  </a:cubicBezTo>
                  <a:moveTo>
                    <a:pt x="102" y="49"/>
                  </a:moveTo>
                  <a:cubicBezTo>
                    <a:pt x="102" y="78"/>
                    <a:pt x="79" y="99"/>
                    <a:pt x="51" y="99"/>
                  </a:cubicBezTo>
                  <a:cubicBezTo>
                    <a:pt x="23" y="99"/>
                    <a:pt x="0" y="78"/>
                    <a:pt x="0" y="49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6" name="Straight Connector 35"/>
          <p:cNvCxnSpPr/>
          <p:nvPr userDrawn="1"/>
        </p:nvCxnSpPr>
        <p:spPr>
          <a:xfrm>
            <a:off x="3151364" y="2575460"/>
            <a:ext cx="599263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>
            <a:off x="3151364" y="3993743"/>
            <a:ext cx="599263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48026" y="2571768"/>
            <a:ext cx="5895975" cy="1420813"/>
          </a:xfrm>
        </p:spPr>
        <p:txBody>
          <a:bodyPr lIns="0" tIns="71892" rIns="0">
            <a:noAutofit/>
          </a:bodyPr>
          <a:lstStyle>
            <a:lvl1pPr marL="0" indent="0">
              <a:lnSpc>
                <a:spcPct val="95000"/>
              </a:lnSpc>
              <a:spcAft>
                <a:spcPts val="800"/>
              </a:spcAft>
              <a:buNone/>
              <a:defRPr sz="3600" spc="-6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124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79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29201"/>
            <a:ext cx="9144000" cy="1836886"/>
          </a:xfrm>
        </p:spPr>
        <p:txBody>
          <a:bodyPr/>
          <a:lstStyle>
            <a:lvl1pPr marL="228228" indent="0">
              <a:spcBef>
                <a:spcPts val="0"/>
              </a:spcBef>
              <a:buNone/>
              <a:defRPr sz="80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79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32" y="2565019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701" indent="0">
              <a:buFontTx/>
              <a:buNone/>
              <a:defRPr sz="1300">
                <a:latin typeface="+mn-lt"/>
              </a:defRPr>
            </a:lvl2pPr>
            <a:lvl3pPr marL="405337" indent="0">
              <a:buFontTx/>
              <a:buNone/>
              <a:defRPr sz="1300">
                <a:latin typeface="+mn-lt"/>
              </a:defRPr>
            </a:lvl3pPr>
            <a:lvl4pPr marL="605031" indent="0">
              <a:buFontTx/>
              <a:buNone/>
              <a:defRPr sz="1300">
                <a:latin typeface="+mn-lt"/>
              </a:defRPr>
            </a:lvl4pPr>
            <a:lvl5pPr marL="804740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3014625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4187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79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79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32" y="2565019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701" indent="0">
              <a:buFontTx/>
              <a:buNone/>
              <a:defRPr sz="1300">
                <a:latin typeface="+mn-lt"/>
              </a:defRPr>
            </a:lvl2pPr>
            <a:lvl3pPr marL="405337" indent="0">
              <a:buFontTx/>
              <a:buNone/>
              <a:defRPr sz="1300">
                <a:latin typeface="+mn-lt"/>
              </a:defRPr>
            </a:lvl3pPr>
            <a:lvl4pPr marL="605031" indent="0">
              <a:buFontTx/>
              <a:buNone/>
              <a:defRPr sz="1300">
                <a:latin typeface="+mn-lt"/>
              </a:defRPr>
            </a:lvl4pPr>
            <a:lvl5pPr marL="804740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72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" y="0"/>
            <a:ext cx="9143709" cy="51435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951" y="1165860"/>
            <a:ext cx="8530908" cy="3538300"/>
          </a:xfrm>
        </p:spPr>
        <p:txBody>
          <a:bodyPr/>
          <a:lstStyle>
            <a:lvl5pPr marL="1008003" indent="-203264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889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595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795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496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361" y="517242"/>
            <a:ext cx="7656204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205561" y="4924801"/>
            <a:ext cx="809895" cy="1134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800"/>
            <a:ext cx="269965" cy="113400"/>
          </a:xfrm>
        </p:spPr>
        <p:txBody>
          <a:bodyPr anchor="t"/>
          <a:lstStyle>
            <a:lvl1pPr marL="0" algn="r" defTabSz="684683" rtl="0" eaLnBrk="1" latinLnBrk="0" hangingPunct="1">
              <a:buNone/>
              <a:defRPr b="0"/>
            </a:lvl1pPr>
          </a:lstStyle>
          <a:p>
            <a:fld id="{EC55454F-F9AD-41CF-B3B2-412943C2A25E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48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8003" indent="-203264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889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595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795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496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11" name="Picture 10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4"/>
            <a:ext cx="8536336" cy="3724275"/>
          </a:xfrm>
        </p:spPr>
        <p:txBody>
          <a:bodyPr/>
          <a:lstStyle>
            <a:lvl1pPr marL="273400" indent="-273400">
              <a:buSzPct val="100000"/>
              <a:buFont typeface="+mj-lt"/>
              <a:buAutoNum type="arabicPeriod"/>
              <a:defRPr/>
            </a:lvl1pPr>
            <a:lvl2pPr marL="473104" indent="-199701">
              <a:defRPr/>
            </a:lvl2pPr>
            <a:lvl3pPr marL="672796" indent="-199701">
              <a:defRPr/>
            </a:lvl3pPr>
            <a:lvl4pPr marL="871304" indent="-198511">
              <a:defRPr/>
            </a:lvl4pPr>
            <a:lvl5pPr marL="1070991" indent="-199701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8889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595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7795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496" indent="-21396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2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78177"/>
            <a:ext cx="8534400" cy="1021556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962547"/>
            <a:ext cx="8534400" cy="1125140"/>
          </a:xfrm>
        </p:spPr>
        <p:txBody>
          <a:bodyPr anchor="b"/>
          <a:lstStyle>
            <a:lvl1pPr marL="0" indent="0">
              <a:buNone/>
              <a:defRPr sz="1300"/>
            </a:lvl1pPr>
            <a:lvl2pPr marL="342341" indent="0">
              <a:buNone/>
              <a:defRPr sz="1300"/>
            </a:lvl2pPr>
            <a:lvl3pPr marL="684683" indent="0">
              <a:buNone/>
              <a:defRPr sz="1200"/>
            </a:lvl3pPr>
            <a:lvl4pPr marL="1027023" indent="0">
              <a:buNone/>
              <a:defRPr sz="1000"/>
            </a:lvl4pPr>
            <a:lvl5pPr marL="1369364" indent="0">
              <a:buNone/>
              <a:defRPr sz="1000"/>
            </a:lvl5pPr>
            <a:lvl6pPr marL="1711701" indent="0">
              <a:buNone/>
              <a:defRPr sz="1000"/>
            </a:lvl6pPr>
            <a:lvl7pPr marL="2054048" indent="0">
              <a:buNone/>
              <a:defRPr sz="1000"/>
            </a:lvl7pPr>
            <a:lvl8pPr marL="2396382" indent="0">
              <a:buNone/>
              <a:defRPr sz="1000"/>
            </a:lvl8pPr>
            <a:lvl9pPr marL="273873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443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081092"/>
            <a:ext cx="4151315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889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5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77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7496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889" marR="0" lvl="5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595" marR="0" lvl="6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795" marR="0" lvl="7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496" marR="0" lvl="8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10" y="1081092"/>
            <a:ext cx="4152528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889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5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77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7496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889" marR="0" lvl="5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595" marR="0" lvl="6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795" marR="0" lvl="7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496" marR="0" lvl="8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59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341" indent="0">
              <a:buNone/>
              <a:defRPr sz="1500" b="1"/>
            </a:lvl2pPr>
            <a:lvl3pPr marL="684683" indent="0">
              <a:buNone/>
              <a:defRPr sz="1300" b="1"/>
            </a:lvl3pPr>
            <a:lvl4pPr marL="1027023" indent="0">
              <a:buNone/>
              <a:defRPr sz="1200" b="1"/>
            </a:lvl4pPr>
            <a:lvl5pPr marL="1369364" indent="0">
              <a:buNone/>
              <a:defRPr sz="1200" b="1"/>
            </a:lvl5pPr>
            <a:lvl6pPr marL="1711701" indent="0">
              <a:buNone/>
              <a:defRPr sz="1200" b="1"/>
            </a:lvl6pPr>
            <a:lvl7pPr marL="2054048" indent="0">
              <a:buNone/>
              <a:defRPr sz="1200" b="1"/>
            </a:lvl7pPr>
            <a:lvl8pPr marL="2396382" indent="0">
              <a:buNone/>
              <a:defRPr sz="1200" b="1"/>
            </a:lvl8pPr>
            <a:lvl9pPr marL="273873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163115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889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5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77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7496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889" marR="0" lvl="5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595" marR="0" lvl="6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795" marR="0" lvl="7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496" marR="0" lvl="8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341" indent="0">
              <a:buNone/>
              <a:defRPr sz="1500" b="1"/>
            </a:lvl2pPr>
            <a:lvl3pPr marL="684683" indent="0">
              <a:buNone/>
              <a:defRPr sz="1300" b="1"/>
            </a:lvl3pPr>
            <a:lvl4pPr marL="1027023" indent="0">
              <a:buNone/>
              <a:defRPr sz="1200" b="1"/>
            </a:lvl4pPr>
            <a:lvl5pPr marL="1369364" indent="0">
              <a:buNone/>
              <a:defRPr sz="1200" b="1"/>
            </a:lvl5pPr>
            <a:lvl6pPr marL="1711701" indent="0">
              <a:buNone/>
              <a:defRPr sz="1200" b="1"/>
            </a:lvl6pPr>
            <a:lvl7pPr marL="2054048" indent="0">
              <a:buNone/>
              <a:defRPr sz="1200" b="1"/>
            </a:lvl7pPr>
            <a:lvl8pPr marL="2396382" indent="0">
              <a:buNone/>
              <a:defRPr sz="1200" b="1"/>
            </a:lvl8pPr>
            <a:lvl9pPr marL="273873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162480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8889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5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7795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7496" marR="0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8889" marR="0" lvl="5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595" marR="0" lvl="6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7795" marR="0" lvl="7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496" marR="0" lvl="8" indent="-213960" algn="l" defTabSz="6846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25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45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0" y="1072754"/>
            <a:ext cx="8527870" cy="3713559"/>
          </a:xfrm>
        </p:spPr>
        <p:txBody>
          <a:bodyPr/>
          <a:lstStyle>
            <a:lvl1pPr marL="0" indent="0">
              <a:buNone/>
              <a:defRPr sz="2400"/>
            </a:lvl1pPr>
            <a:lvl2pPr marL="342341" indent="0">
              <a:buNone/>
              <a:defRPr sz="2100"/>
            </a:lvl2pPr>
            <a:lvl3pPr marL="684683" indent="0">
              <a:buNone/>
              <a:defRPr sz="1800"/>
            </a:lvl3pPr>
            <a:lvl4pPr marL="1027023" indent="0">
              <a:buNone/>
              <a:defRPr sz="1500"/>
            </a:lvl4pPr>
            <a:lvl5pPr marL="1369364" indent="0">
              <a:buNone/>
              <a:defRPr sz="1500"/>
            </a:lvl5pPr>
            <a:lvl6pPr marL="1711701" indent="0">
              <a:buNone/>
              <a:defRPr sz="1500"/>
            </a:lvl6pPr>
            <a:lvl7pPr marL="2054048" indent="0">
              <a:buNone/>
              <a:defRPr sz="1500"/>
            </a:lvl7pPr>
            <a:lvl8pPr marL="2396382" indent="0">
              <a:buNone/>
              <a:defRPr sz="1500"/>
            </a:lvl8pPr>
            <a:lvl9pPr marL="273873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27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Large text over image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1" cy="59862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85869"/>
            <a:ext cx="7109635" cy="3779837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7912384" y="290047"/>
            <a:ext cx="950978" cy="586271"/>
            <a:chOff x="0" y="384"/>
            <a:chExt cx="5760" cy="3551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966" y="633"/>
              <a:ext cx="609" cy="595"/>
            </a:xfrm>
            <a:custGeom>
              <a:avLst/>
              <a:gdLst>
                <a:gd name="T0" fmla="*/ 71 w 88"/>
                <a:gd name="T1" fmla="*/ 0 h 86"/>
                <a:gd name="T2" fmla="*/ 60 w 88"/>
                <a:gd name="T3" fmla="*/ 8 h 86"/>
                <a:gd name="T4" fmla="*/ 72 w 88"/>
                <a:gd name="T5" fmla="*/ 36 h 86"/>
                <a:gd name="T6" fmla="*/ 37 w 88"/>
                <a:gd name="T7" fmla="*/ 72 h 86"/>
                <a:gd name="T8" fmla="*/ 9 w 88"/>
                <a:gd name="T9" fmla="*/ 59 h 86"/>
                <a:gd name="T10" fmla="*/ 5 w 88"/>
                <a:gd name="T11" fmla="*/ 63 h 86"/>
                <a:gd name="T12" fmla="*/ 0 w 88"/>
                <a:gd name="T13" fmla="*/ 71 h 86"/>
                <a:gd name="T14" fmla="*/ 37 w 88"/>
                <a:gd name="T15" fmla="*/ 86 h 86"/>
                <a:gd name="T16" fmla="*/ 88 w 88"/>
                <a:gd name="T17" fmla="*/ 36 h 86"/>
                <a:gd name="T18" fmla="*/ 71 w 88"/>
                <a:gd name="T1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6">
                  <a:moveTo>
                    <a:pt x="71" y="0"/>
                  </a:moveTo>
                  <a:cubicBezTo>
                    <a:pt x="67" y="2"/>
                    <a:pt x="63" y="5"/>
                    <a:pt x="60" y="8"/>
                  </a:cubicBezTo>
                  <a:cubicBezTo>
                    <a:pt x="68" y="15"/>
                    <a:pt x="72" y="25"/>
                    <a:pt x="72" y="36"/>
                  </a:cubicBezTo>
                  <a:cubicBezTo>
                    <a:pt x="72" y="56"/>
                    <a:pt x="58" y="72"/>
                    <a:pt x="37" y="72"/>
                  </a:cubicBezTo>
                  <a:cubicBezTo>
                    <a:pt x="25" y="72"/>
                    <a:pt x="15" y="67"/>
                    <a:pt x="9" y="59"/>
                  </a:cubicBezTo>
                  <a:cubicBezTo>
                    <a:pt x="8" y="60"/>
                    <a:pt x="6" y="62"/>
                    <a:pt x="5" y="63"/>
                  </a:cubicBezTo>
                  <a:cubicBezTo>
                    <a:pt x="3" y="66"/>
                    <a:pt x="2" y="68"/>
                    <a:pt x="0" y="71"/>
                  </a:cubicBezTo>
                  <a:cubicBezTo>
                    <a:pt x="9" y="80"/>
                    <a:pt x="22" y="86"/>
                    <a:pt x="37" y="86"/>
                  </a:cubicBezTo>
                  <a:cubicBezTo>
                    <a:pt x="65" y="86"/>
                    <a:pt x="88" y="64"/>
                    <a:pt x="88" y="36"/>
                  </a:cubicBezTo>
                  <a:cubicBezTo>
                    <a:pt x="88" y="22"/>
                    <a:pt x="81" y="9"/>
                    <a:pt x="7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1682" y="1491"/>
              <a:ext cx="263" cy="616"/>
            </a:xfrm>
            <a:custGeom>
              <a:avLst/>
              <a:gdLst>
                <a:gd name="T0" fmla="*/ 22 w 38"/>
                <a:gd name="T1" fmla="*/ 41 h 89"/>
                <a:gd name="T2" fmla="*/ 0 w 38"/>
                <a:gd name="T3" fmla="*/ 75 h 89"/>
                <a:gd name="T4" fmla="*/ 0 w 38"/>
                <a:gd name="T5" fmla="*/ 83 h 89"/>
                <a:gd name="T6" fmla="*/ 0 w 38"/>
                <a:gd name="T7" fmla="*/ 89 h 89"/>
                <a:gd name="T8" fmla="*/ 38 w 38"/>
                <a:gd name="T9" fmla="*/ 41 h 89"/>
                <a:gd name="T10" fmla="*/ 14 w 38"/>
                <a:gd name="T11" fmla="*/ 0 h 89"/>
                <a:gd name="T12" fmla="*/ 10 w 38"/>
                <a:gd name="T13" fmla="*/ 14 h 89"/>
                <a:gd name="T14" fmla="*/ 22 w 38"/>
                <a:gd name="T15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9">
                  <a:moveTo>
                    <a:pt x="22" y="41"/>
                  </a:moveTo>
                  <a:cubicBezTo>
                    <a:pt x="22" y="56"/>
                    <a:pt x="14" y="69"/>
                    <a:pt x="0" y="75"/>
                  </a:cubicBezTo>
                  <a:cubicBezTo>
                    <a:pt x="0" y="77"/>
                    <a:pt x="0" y="80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22" y="84"/>
                    <a:pt x="38" y="65"/>
                    <a:pt x="38" y="41"/>
                  </a:cubicBezTo>
                  <a:cubicBezTo>
                    <a:pt x="38" y="24"/>
                    <a:pt x="28" y="9"/>
                    <a:pt x="14" y="0"/>
                  </a:cubicBezTo>
                  <a:cubicBezTo>
                    <a:pt x="13" y="4"/>
                    <a:pt x="11" y="9"/>
                    <a:pt x="10" y="14"/>
                  </a:cubicBezTo>
                  <a:cubicBezTo>
                    <a:pt x="18" y="20"/>
                    <a:pt x="22" y="31"/>
                    <a:pt x="22" y="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710" y="2336"/>
              <a:ext cx="485" cy="664"/>
            </a:xfrm>
            <a:custGeom>
              <a:avLst/>
              <a:gdLst>
                <a:gd name="T0" fmla="*/ 19 w 70"/>
                <a:gd name="T1" fmla="*/ 14 h 96"/>
                <a:gd name="T2" fmla="*/ 55 w 70"/>
                <a:gd name="T3" fmla="*/ 49 h 96"/>
                <a:gd name="T4" fmla="*/ 29 w 70"/>
                <a:gd name="T5" fmla="*/ 84 h 96"/>
                <a:gd name="T6" fmla="*/ 37 w 70"/>
                <a:gd name="T7" fmla="*/ 96 h 96"/>
                <a:gd name="T8" fmla="*/ 70 w 70"/>
                <a:gd name="T9" fmla="*/ 49 h 96"/>
                <a:gd name="T10" fmla="*/ 19 w 70"/>
                <a:gd name="T11" fmla="*/ 0 h 96"/>
                <a:gd name="T12" fmla="*/ 0 w 70"/>
                <a:gd name="T13" fmla="*/ 4 h 96"/>
                <a:gd name="T14" fmla="*/ 3 w 70"/>
                <a:gd name="T15" fmla="*/ 17 h 96"/>
                <a:gd name="T16" fmla="*/ 19 w 70"/>
                <a:gd name="T17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96">
                  <a:moveTo>
                    <a:pt x="19" y="14"/>
                  </a:moveTo>
                  <a:cubicBezTo>
                    <a:pt x="42" y="14"/>
                    <a:pt x="55" y="30"/>
                    <a:pt x="55" y="49"/>
                  </a:cubicBezTo>
                  <a:cubicBezTo>
                    <a:pt x="55" y="66"/>
                    <a:pt x="45" y="80"/>
                    <a:pt x="29" y="84"/>
                  </a:cubicBezTo>
                  <a:cubicBezTo>
                    <a:pt x="31" y="88"/>
                    <a:pt x="34" y="92"/>
                    <a:pt x="37" y="96"/>
                  </a:cubicBezTo>
                  <a:cubicBezTo>
                    <a:pt x="56" y="89"/>
                    <a:pt x="70" y="71"/>
                    <a:pt x="70" y="49"/>
                  </a:cubicBezTo>
                  <a:cubicBezTo>
                    <a:pt x="70" y="22"/>
                    <a:pt x="47" y="0"/>
                    <a:pt x="19" y="0"/>
                  </a:cubicBezTo>
                  <a:cubicBezTo>
                    <a:pt x="12" y="0"/>
                    <a:pt x="6" y="1"/>
                    <a:pt x="0" y="4"/>
                  </a:cubicBezTo>
                  <a:cubicBezTo>
                    <a:pt x="0" y="8"/>
                    <a:pt x="1" y="13"/>
                    <a:pt x="3" y="17"/>
                  </a:cubicBezTo>
                  <a:cubicBezTo>
                    <a:pt x="7" y="15"/>
                    <a:pt x="13" y="14"/>
                    <a:pt x="19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3157" y="2350"/>
              <a:ext cx="512" cy="671"/>
            </a:xfrm>
            <a:custGeom>
              <a:avLst/>
              <a:gdLst>
                <a:gd name="T0" fmla="*/ 58 w 74"/>
                <a:gd name="T1" fmla="*/ 0 h 97"/>
                <a:gd name="T2" fmla="*/ 58 w 74"/>
                <a:gd name="T3" fmla="*/ 57 h 97"/>
                <a:gd name="T4" fmla="*/ 37 w 74"/>
                <a:gd name="T5" fmla="*/ 83 h 97"/>
                <a:gd name="T6" fmla="*/ 16 w 74"/>
                <a:gd name="T7" fmla="*/ 57 h 97"/>
                <a:gd name="T8" fmla="*/ 16 w 74"/>
                <a:gd name="T9" fmla="*/ 0 h 97"/>
                <a:gd name="T10" fmla="*/ 0 w 74"/>
                <a:gd name="T11" fmla="*/ 0 h 97"/>
                <a:gd name="T12" fmla="*/ 0 w 74"/>
                <a:gd name="T13" fmla="*/ 60 h 97"/>
                <a:gd name="T14" fmla="*/ 37 w 74"/>
                <a:gd name="T15" fmla="*/ 97 h 97"/>
                <a:gd name="T16" fmla="*/ 74 w 74"/>
                <a:gd name="T17" fmla="*/ 60 h 97"/>
                <a:gd name="T18" fmla="*/ 74 w 74"/>
                <a:gd name="T19" fmla="*/ 0 h 97"/>
                <a:gd name="T20" fmla="*/ 58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58" y="0"/>
                  </a:moveTo>
                  <a:cubicBezTo>
                    <a:pt x="58" y="57"/>
                    <a:pt x="58" y="57"/>
                    <a:pt x="58" y="57"/>
                  </a:cubicBezTo>
                  <a:cubicBezTo>
                    <a:pt x="58" y="71"/>
                    <a:pt x="54" y="83"/>
                    <a:pt x="37" y="83"/>
                  </a:cubicBezTo>
                  <a:cubicBezTo>
                    <a:pt x="20" y="83"/>
                    <a:pt x="16" y="71"/>
                    <a:pt x="16" y="5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81"/>
                    <a:pt x="13" y="97"/>
                    <a:pt x="37" y="97"/>
                  </a:cubicBezTo>
                  <a:cubicBezTo>
                    <a:pt x="61" y="97"/>
                    <a:pt x="74" y="81"/>
                    <a:pt x="74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4874" y="1450"/>
              <a:ext cx="111" cy="6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4"/>
            <p:cNvSpPr>
              <a:spLocks noEditPoints="1"/>
            </p:cNvSpPr>
            <p:nvPr/>
          </p:nvSpPr>
          <p:spPr bwMode="auto">
            <a:xfrm>
              <a:off x="2430" y="2350"/>
              <a:ext cx="505" cy="657"/>
            </a:xfrm>
            <a:custGeom>
              <a:avLst/>
              <a:gdLst>
                <a:gd name="T0" fmla="*/ 26 w 73"/>
                <a:gd name="T1" fmla="*/ 0 h 95"/>
                <a:gd name="T2" fmla="*/ 53 w 73"/>
                <a:gd name="T3" fmla="*/ 4 h 95"/>
                <a:gd name="T4" fmla="*/ 65 w 73"/>
                <a:gd name="T5" fmla="*/ 27 h 95"/>
                <a:gd name="T6" fmla="*/ 42 w 73"/>
                <a:gd name="T7" fmla="*/ 53 h 95"/>
                <a:gd name="T8" fmla="*/ 73 w 73"/>
                <a:gd name="T9" fmla="*/ 95 h 95"/>
                <a:gd name="T10" fmla="*/ 55 w 73"/>
                <a:gd name="T11" fmla="*/ 95 h 95"/>
                <a:gd name="T12" fmla="*/ 26 w 73"/>
                <a:gd name="T13" fmla="*/ 55 h 95"/>
                <a:gd name="T14" fmla="*/ 16 w 73"/>
                <a:gd name="T15" fmla="*/ 55 h 95"/>
                <a:gd name="T16" fmla="*/ 16 w 73"/>
                <a:gd name="T17" fmla="*/ 95 h 95"/>
                <a:gd name="T18" fmla="*/ 0 w 73"/>
                <a:gd name="T19" fmla="*/ 95 h 95"/>
                <a:gd name="T20" fmla="*/ 0 w 73"/>
                <a:gd name="T21" fmla="*/ 0 h 95"/>
                <a:gd name="T22" fmla="*/ 26 w 73"/>
                <a:gd name="T23" fmla="*/ 0 h 95"/>
                <a:gd name="T24" fmla="*/ 16 w 73"/>
                <a:gd name="T25" fmla="*/ 42 h 95"/>
                <a:gd name="T26" fmla="*/ 23 w 73"/>
                <a:gd name="T27" fmla="*/ 42 h 95"/>
                <a:gd name="T28" fmla="*/ 50 w 73"/>
                <a:gd name="T29" fmla="*/ 27 h 95"/>
                <a:gd name="T30" fmla="*/ 22 w 73"/>
                <a:gd name="T31" fmla="*/ 13 h 95"/>
                <a:gd name="T32" fmla="*/ 16 w 73"/>
                <a:gd name="T33" fmla="*/ 13 h 95"/>
                <a:gd name="T34" fmla="*/ 16 w 73"/>
                <a:gd name="T3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95">
                  <a:moveTo>
                    <a:pt x="26" y="0"/>
                  </a:moveTo>
                  <a:cubicBezTo>
                    <a:pt x="35" y="0"/>
                    <a:pt x="45" y="0"/>
                    <a:pt x="53" y="4"/>
                  </a:cubicBezTo>
                  <a:cubicBezTo>
                    <a:pt x="61" y="9"/>
                    <a:pt x="65" y="18"/>
                    <a:pt x="65" y="27"/>
                  </a:cubicBezTo>
                  <a:cubicBezTo>
                    <a:pt x="65" y="40"/>
                    <a:pt x="56" y="52"/>
                    <a:pt x="42" y="53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16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35" y="42"/>
                    <a:pt x="50" y="42"/>
                    <a:pt x="50" y="27"/>
                  </a:cubicBezTo>
                  <a:cubicBezTo>
                    <a:pt x="50" y="12"/>
                    <a:pt x="34" y="13"/>
                    <a:pt x="22" y="13"/>
                  </a:cubicBezTo>
                  <a:cubicBezTo>
                    <a:pt x="16" y="13"/>
                    <a:pt x="16" y="13"/>
                    <a:pt x="16" y="13"/>
                  </a:cubicBezTo>
                  <a:lnTo>
                    <a:pt x="1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auto">
            <a:xfrm>
              <a:off x="2804" y="550"/>
              <a:ext cx="498" cy="665"/>
            </a:xfrm>
            <a:custGeom>
              <a:avLst/>
              <a:gdLst>
                <a:gd name="T0" fmla="*/ 25 w 72"/>
                <a:gd name="T1" fmla="*/ 0 h 96"/>
                <a:gd name="T2" fmla="*/ 52 w 72"/>
                <a:gd name="T3" fmla="*/ 5 h 96"/>
                <a:gd name="T4" fmla="*/ 65 w 72"/>
                <a:gd name="T5" fmla="*/ 28 h 96"/>
                <a:gd name="T6" fmla="*/ 41 w 72"/>
                <a:gd name="T7" fmla="*/ 54 h 96"/>
                <a:gd name="T8" fmla="*/ 72 w 72"/>
                <a:gd name="T9" fmla="*/ 96 h 96"/>
                <a:gd name="T10" fmla="*/ 54 w 72"/>
                <a:gd name="T11" fmla="*/ 96 h 96"/>
                <a:gd name="T12" fmla="*/ 26 w 72"/>
                <a:gd name="T13" fmla="*/ 55 h 96"/>
                <a:gd name="T14" fmla="*/ 15 w 72"/>
                <a:gd name="T15" fmla="*/ 55 h 96"/>
                <a:gd name="T16" fmla="*/ 15 w 72"/>
                <a:gd name="T17" fmla="*/ 96 h 96"/>
                <a:gd name="T18" fmla="*/ 0 w 72"/>
                <a:gd name="T19" fmla="*/ 96 h 96"/>
                <a:gd name="T20" fmla="*/ 0 w 72"/>
                <a:gd name="T21" fmla="*/ 0 h 96"/>
                <a:gd name="T22" fmla="*/ 25 w 72"/>
                <a:gd name="T23" fmla="*/ 0 h 96"/>
                <a:gd name="T24" fmla="*/ 15 w 72"/>
                <a:gd name="T25" fmla="*/ 43 h 96"/>
                <a:gd name="T26" fmla="*/ 22 w 72"/>
                <a:gd name="T27" fmla="*/ 43 h 96"/>
                <a:gd name="T28" fmla="*/ 50 w 72"/>
                <a:gd name="T29" fmla="*/ 28 h 96"/>
                <a:gd name="T30" fmla="*/ 22 w 72"/>
                <a:gd name="T31" fmla="*/ 14 h 96"/>
                <a:gd name="T32" fmla="*/ 15 w 72"/>
                <a:gd name="T33" fmla="*/ 14 h 96"/>
                <a:gd name="T34" fmla="*/ 15 w 72"/>
                <a:gd name="T35" fmla="*/ 4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6">
                  <a:moveTo>
                    <a:pt x="25" y="0"/>
                  </a:moveTo>
                  <a:cubicBezTo>
                    <a:pt x="34" y="0"/>
                    <a:pt x="44" y="1"/>
                    <a:pt x="52" y="5"/>
                  </a:cubicBezTo>
                  <a:cubicBezTo>
                    <a:pt x="60" y="10"/>
                    <a:pt x="65" y="19"/>
                    <a:pt x="65" y="28"/>
                  </a:cubicBezTo>
                  <a:cubicBezTo>
                    <a:pt x="65" y="41"/>
                    <a:pt x="55" y="53"/>
                    <a:pt x="41" y="54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15" y="43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35" y="43"/>
                    <a:pt x="50" y="43"/>
                    <a:pt x="50" y="28"/>
                  </a:cubicBezTo>
                  <a:cubicBezTo>
                    <a:pt x="50" y="13"/>
                    <a:pt x="34" y="14"/>
                    <a:pt x="22" y="14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1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6"/>
            <p:cNvSpPr>
              <a:spLocks noEditPoints="1"/>
            </p:cNvSpPr>
            <p:nvPr/>
          </p:nvSpPr>
          <p:spPr bwMode="auto">
            <a:xfrm>
              <a:off x="4140" y="557"/>
              <a:ext cx="554" cy="658"/>
            </a:xfrm>
            <a:custGeom>
              <a:avLst/>
              <a:gdLst>
                <a:gd name="T0" fmla="*/ 15 w 80"/>
                <a:gd name="T1" fmla="*/ 81 h 95"/>
                <a:gd name="T2" fmla="*/ 24 w 80"/>
                <a:gd name="T3" fmla="*/ 81 h 95"/>
                <a:gd name="T4" fmla="*/ 65 w 80"/>
                <a:gd name="T5" fmla="*/ 47 h 95"/>
                <a:gd name="T6" fmla="*/ 24 w 80"/>
                <a:gd name="T7" fmla="*/ 13 h 95"/>
                <a:gd name="T8" fmla="*/ 15 w 80"/>
                <a:gd name="T9" fmla="*/ 13 h 95"/>
                <a:gd name="T10" fmla="*/ 15 w 80"/>
                <a:gd name="T11" fmla="*/ 81 h 95"/>
                <a:gd name="T12" fmla="*/ 0 w 80"/>
                <a:gd name="T13" fmla="*/ 0 h 95"/>
                <a:gd name="T14" fmla="*/ 26 w 80"/>
                <a:gd name="T15" fmla="*/ 0 h 95"/>
                <a:gd name="T16" fmla="*/ 80 w 80"/>
                <a:gd name="T17" fmla="*/ 47 h 95"/>
                <a:gd name="T18" fmla="*/ 25 w 80"/>
                <a:gd name="T19" fmla="*/ 95 h 95"/>
                <a:gd name="T20" fmla="*/ 0 w 80"/>
                <a:gd name="T21" fmla="*/ 95 h 95"/>
                <a:gd name="T22" fmla="*/ 0 w 80"/>
                <a:gd name="T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5">
                  <a:moveTo>
                    <a:pt x="15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45" y="81"/>
                    <a:pt x="65" y="74"/>
                    <a:pt x="65" y="47"/>
                  </a:cubicBezTo>
                  <a:cubicBezTo>
                    <a:pt x="65" y="19"/>
                    <a:pt x="45" y="13"/>
                    <a:pt x="2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81"/>
                    <a:pt x="15" y="81"/>
                    <a:pt x="15" y="81"/>
                  </a:cubicBezTo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56" y="0"/>
                    <a:pt x="80" y="14"/>
                    <a:pt x="80" y="47"/>
                  </a:cubicBezTo>
                  <a:cubicBezTo>
                    <a:pt x="80" y="80"/>
                    <a:pt x="56" y="95"/>
                    <a:pt x="25" y="95"/>
                  </a:cubicBezTo>
                  <a:cubicBezTo>
                    <a:pt x="0" y="95"/>
                    <a:pt x="0" y="95"/>
                    <a:pt x="0" y="95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auto">
            <a:xfrm>
              <a:off x="5227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9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4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588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8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3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9"/>
            <p:cNvSpPr>
              <a:spLocks noEditPoints="1"/>
            </p:cNvSpPr>
            <p:nvPr/>
          </p:nvSpPr>
          <p:spPr bwMode="auto">
            <a:xfrm>
              <a:off x="1239" y="384"/>
              <a:ext cx="3441" cy="3551"/>
            </a:xfrm>
            <a:custGeom>
              <a:avLst/>
              <a:gdLst>
                <a:gd name="T0" fmla="*/ 491 w 497"/>
                <a:gd name="T1" fmla="*/ 443 h 513"/>
                <a:gd name="T2" fmla="*/ 491 w 497"/>
                <a:gd name="T3" fmla="*/ 443 h 513"/>
                <a:gd name="T4" fmla="*/ 487 w 497"/>
                <a:gd name="T5" fmla="*/ 439 h 513"/>
                <a:gd name="T6" fmla="*/ 320 w 497"/>
                <a:gd name="T7" fmla="*/ 498 h 513"/>
                <a:gd name="T8" fmla="*/ 135 w 497"/>
                <a:gd name="T9" fmla="*/ 423 h 513"/>
                <a:gd name="T10" fmla="*/ 59 w 497"/>
                <a:gd name="T11" fmla="*/ 243 h 513"/>
                <a:gd name="T12" fmla="*/ 106 w 497"/>
                <a:gd name="T13" fmla="*/ 97 h 513"/>
                <a:gd name="T14" fmla="*/ 227 w 497"/>
                <a:gd name="T15" fmla="*/ 4 h 513"/>
                <a:gd name="T16" fmla="*/ 225 w 497"/>
                <a:gd name="T17" fmla="*/ 0 h 513"/>
                <a:gd name="T18" fmla="*/ 167 w 497"/>
                <a:gd name="T19" fmla="*/ 29 h 513"/>
                <a:gd name="T20" fmla="*/ 142 w 497"/>
                <a:gd name="T21" fmla="*/ 23 h 513"/>
                <a:gd name="T22" fmla="*/ 91 w 497"/>
                <a:gd name="T23" fmla="*/ 72 h 513"/>
                <a:gd name="T24" fmla="*/ 98 w 497"/>
                <a:gd name="T25" fmla="*/ 98 h 513"/>
                <a:gd name="T26" fmla="*/ 69 w 497"/>
                <a:gd name="T27" fmla="*/ 155 h 513"/>
                <a:gd name="T28" fmla="*/ 51 w 497"/>
                <a:gd name="T29" fmla="*/ 152 h 513"/>
                <a:gd name="T30" fmla="*/ 0 w 497"/>
                <a:gd name="T31" fmla="*/ 201 h 513"/>
                <a:gd name="T32" fmla="*/ 51 w 497"/>
                <a:gd name="T33" fmla="*/ 251 h 513"/>
                <a:gd name="T34" fmla="*/ 54 w 497"/>
                <a:gd name="T35" fmla="*/ 251 h 513"/>
                <a:gd name="T36" fmla="*/ 58 w 497"/>
                <a:gd name="T37" fmla="*/ 291 h 513"/>
                <a:gd name="T38" fmla="*/ 36 w 497"/>
                <a:gd name="T39" fmla="*/ 331 h 513"/>
                <a:gd name="T40" fmla="*/ 87 w 497"/>
                <a:gd name="T41" fmla="*/ 381 h 513"/>
                <a:gd name="T42" fmla="*/ 94 w 497"/>
                <a:gd name="T43" fmla="*/ 380 h 513"/>
                <a:gd name="T44" fmla="*/ 132 w 497"/>
                <a:gd name="T45" fmla="*/ 427 h 513"/>
                <a:gd name="T46" fmla="*/ 146 w 497"/>
                <a:gd name="T47" fmla="*/ 440 h 513"/>
                <a:gd name="T48" fmla="*/ 140 w 497"/>
                <a:gd name="T49" fmla="*/ 448 h 513"/>
                <a:gd name="T50" fmla="*/ 320 w 497"/>
                <a:gd name="T51" fmla="*/ 513 h 513"/>
                <a:gd name="T52" fmla="*/ 497 w 497"/>
                <a:gd name="T53" fmla="*/ 450 h 513"/>
                <a:gd name="T54" fmla="*/ 491 w 497"/>
                <a:gd name="T55" fmla="*/ 443 h 513"/>
                <a:gd name="T56" fmla="*/ 142 w 497"/>
                <a:gd name="T57" fmla="*/ 37 h 513"/>
                <a:gd name="T58" fmla="*/ 155 w 497"/>
                <a:gd name="T59" fmla="*/ 39 h 513"/>
                <a:gd name="T60" fmla="*/ 108 w 497"/>
                <a:gd name="T61" fmla="*/ 85 h 513"/>
                <a:gd name="T62" fmla="*/ 106 w 497"/>
                <a:gd name="T63" fmla="*/ 72 h 513"/>
                <a:gd name="T64" fmla="*/ 142 w 497"/>
                <a:gd name="T65" fmla="*/ 37 h 513"/>
                <a:gd name="T66" fmla="*/ 15 w 497"/>
                <a:gd name="T67" fmla="*/ 201 h 513"/>
                <a:gd name="T68" fmla="*/ 51 w 497"/>
                <a:gd name="T69" fmla="*/ 166 h 513"/>
                <a:gd name="T70" fmla="*/ 65 w 497"/>
                <a:gd name="T71" fmla="*/ 168 h 513"/>
                <a:gd name="T72" fmla="*/ 54 w 497"/>
                <a:gd name="T73" fmla="*/ 237 h 513"/>
                <a:gd name="T74" fmla="*/ 51 w 497"/>
                <a:gd name="T75" fmla="*/ 237 h 513"/>
                <a:gd name="T76" fmla="*/ 15 w 497"/>
                <a:gd name="T77" fmla="*/ 201 h 513"/>
                <a:gd name="T78" fmla="*/ 52 w 497"/>
                <a:gd name="T79" fmla="*/ 331 h 513"/>
                <a:gd name="T80" fmla="*/ 61 w 497"/>
                <a:gd name="T81" fmla="*/ 306 h 513"/>
                <a:gd name="T82" fmla="*/ 86 w 497"/>
                <a:gd name="T83" fmla="*/ 367 h 513"/>
                <a:gd name="T84" fmla="*/ 52 w 497"/>
                <a:gd name="T85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7" h="513">
                  <a:moveTo>
                    <a:pt x="491" y="443"/>
                  </a:moveTo>
                  <a:cubicBezTo>
                    <a:pt x="491" y="443"/>
                    <a:pt x="491" y="443"/>
                    <a:pt x="491" y="443"/>
                  </a:cubicBezTo>
                  <a:cubicBezTo>
                    <a:pt x="487" y="439"/>
                    <a:pt x="487" y="439"/>
                    <a:pt x="487" y="439"/>
                  </a:cubicBezTo>
                  <a:cubicBezTo>
                    <a:pt x="440" y="477"/>
                    <a:pt x="381" y="498"/>
                    <a:pt x="320" y="498"/>
                  </a:cubicBezTo>
                  <a:cubicBezTo>
                    <a:pt x="250" y="498"/>
                    <a:pt x="185" y="471"/>
                    <a:pt x="135" y="423"/>
                  </a:cubicBezTo>
                  <a:cubicBezTo>
                    <a:pt x="86" y="375"/>
                    <a:pt x="59" y="311"/>
                    <a:pt x="59" y="243"/>
                  </a:cubicBezTo>
                  <a:cubicBezTo>
                    <a:pt x="59" y="190"/>
                    <a:pt x="75" y="140"/>
                    <a:pt x="106" y="97"/>
                  </a:cubicBezTo>
                  <a:cubicBezTo>
                    <a:pt x="136" y="54"/>
                    <a:pt x="178" y="23"/>
                    <a:pt x="227" y="4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4" y="7"/>
                    <a:pt x="185" y="17"/>
                    <a:pt x="167" y="29"/>
                  </a:cubicBezTo>
                  <a:cubicBezTo>
                    <a:pt x="160" y="25"/>
                    <a:pt x="151" y="23"/>
                    <a:pt x="142" y="23"/>
                  </a:cubicBezTo>
                  <a:cubicBezTo>
                    <a:pt x="114" y="23"/>
                    <a:pt x="91" y="45"/>
                    <a:pt x="91" y="72"/>
                  </a:cubicBezTo>
                  <a:cubicBezTo>
                    <a:pt x="91" y="82"/>
                    <a:pt x="93" y="91"/>
                    <a:pt x="98" y="98"/>
                  </a:cubicBezTo>
                  <a:cubicBezTo>
                    <a:pt x="86" y="116"/>
                    <a:pt x="76" y="135"/>
                    <a:pt x="69" y="155"/>
                  </a:cubicBezTo>
                  <a:cubicBezTo>
                    <a:pt x="63" y="153"/>
                    <a:pt x="57" y="152"/>
                    <a:pt x="51" y="152"/>
                  </a:cubicBezTo>
                  <a:cubicBezTo>
                    <a:pt x="23" y="152"/>
                    <a:pt x="0" y="174"/>
                    <a:pt x="0" y="201"/>
                  </a:cubicBezTo>
                  <a:cubicBezTo>
                    <a:pt x="0" y="230"/>
                    <a:pt x="23" y="251"/>
                    <a:pt x="51" y="251"/>
                  </a:cubicBezTo>
                  <a:cubicBezTo>
                    <a:pt x="52" y="251"/>
                    <a:pt x="53" y="251"/>
                    <a:pt x="54" y="251"/>
                  </a:cubicBezTo>
                  <a:cubicBezTo>
                    <a:pt x="54" y="264"/>
                    <a:pt x="56" y="278"/>
                    <a:pt x="58" y="291"/>
                  </a:cubicBezTo>
                  <a:cubicBezTo>
                    <a:pt x="45" y="300"/>
                    <a:pt x="36" y="315"/>
                    <a:pt x="36" y="331"/>
                  </a:cubicBezTo>
                  <a:cubicBezTo>
                    <a:pt x="36" y="360"/>
                    <a:pt x="59" y="381"/>
                    <a:pt x="87" y="381"/>
                  </a:cubicBezTo>
                  <a:cubicBezTo>
                    <a:pt x="90" y="381"/>
                    <a:pt x="92" y="381"/>
                    <a:pt x="94" y="380"/>
                  </a:cubicBezTo>
                  <a:cubicBezTo>
                    <a:pt x="104" y="397"/>
                    <a:pt x="117" y="413"/>
                    <a:pt x="132" y="427"/>
                  </a:cubicBezTo>
                  <a:cubicBezTo>
                    <a:pt x="136" y="431"/>
                    <a:pt x="141" y="436"/>
                    <a:pt x="146" y="440"/>
                  </a:cubicBezTo>
                  <a:cubicBezTo>
                    <a:pt x="140" y="448"/>
                    <a:pt x="140" y="448"/>
                    <a:pt x="140" y="448"/>
                  </a:cubicBezTo>
                  <a:cubicBezTo>
                    <a:pt x="190" y="490"/>
                    <a:pt x="254" y="513"/>
                    <a:pt x="320" y="513"/>
                  </a:cubicBezTo>
                  <a:cubicBezTo>
                    <a:pt x="385" y="513"/>
                    <a:pt x="448" y="491"/>
                    <a:pt x="497" y="450"/>
                  </a:cubicBezTo>
                  <a:lnTo>
                    <a:pt x="491" y="443"/>
                  </a:lnTo>
                  <a:close/>
                  <a:moveTo>
                    <a:pt x="142" y="37"/>
                  </a:moveTo>
                  <a:cubicBezTo>
                    <a:pt x="147" y="37"/>
                    <a:pt x="151" y="37"/>
                    <a:pt x="155" y="39"/>
                  </a:cubicBezTo>
                  <a:cubicBezTo>
                    <a:pt x="137" y="52"/>
                    <a:pt x="122" y="67"/>
                    <a:pt x="108" y="85"/>
                  </a:cubicBezTo>
                  <a:cubicBezTo>
                    <a:pt x="107" y="81"/>
                    <a:pt x="106" y="77"/>
                    <a:pt x="106" y="72"/>
                  </a:cubicBezTo>
                  <a:cubicBezTo>
                    <a:pt x="106" y="53"/>
                    <a:pt x="119" y="37"/>
                    <a:pt x="142" y="37"/>
                  </a:cubicBezTo>
                  <a:close/>
                  <a:moveTo>
                    <a:pt x="15" y="201"/>
                  </a:moveTo>
                  <a:cubicBezTo>
                    <a:pt x="15" y="183"/>
                    <a:pt x="28" y="166"/>
                    <a:pt x="51" y="166"/>
                  </a:cubicBezTo>
                  <a:cubicBezTo>
                    <a:pt x="56" y="166"/>
                    <a:pt x="61" y="167"/>
                    <a:pt x="65" y="168"/>
                  </a:cubicBezTo>
                  <a:cubicBezTo>
                    <a:pt x="58" y="190"/>
                    <a:pt x="54" y="213"/>
                    <a:pt x="54" y="237"/>
                  </a:cubicBezTo>
                  <a:cubicBezTo>
                    <a:pt x="53" y="237"/>
                    <a:pt x="52" y="237"/>
                    <a:pt x="51" y="237"/>
                  </a:cubicBezTo>
                  <a:cubicBezTo>
                    <a:pt x="30" y="237"/>
                    <a:pt x="15" y="221"/>
                    <a:pt x="15" y="201"/>
                  </a:cubicBezTo>
                  <a:close/>
                  <a:moveTo>
                    <a:pt x="52" y="331"/>
                  </a:moveTo>
                  <a:cubicBezTo>
                    <a:pt x="52" y="322"/>
                    <a:pt x="55" y="313"/>
                    <a:pt x="61" y="306"/>
                  </a:cubicBezTo>
                  <a:cubicBezTo>
                    <a:pt x="67" y="327"/>
                    <a:pt x="75" y="348"/>
                    <a:pt x="86" y="367"/>
                  </a:cubicBezTo>
                  <a:cubicBezTo>
                    <a:pt x="66" y="366"/>
                    <a:pt x="52" y="350"/>
                    <a:pt x="52" y="3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0"/>
            <p:cNvSpPr>
              <a:spLocks noEditPoints="1"/>
            </p:cNvSpPr>
            <p:nvPr/>
          </p:nvSpPr>
          <p:spPr bwMode="auto">
            <a:xfrm>
              <a:off x="2956" y="1436"/>
              <a:ext cx="706" cy="685"/>
            </a:xfrm>
            <a:custGeom>
              <a:avLst/>
              <a:gdLst>
                <a:gd name="T0" fmla="*/ 87 w 102"/>
                <a:gd name="T1" fmla="*/ 49 h 99"/>
                <a:gd name="T2" fmla="*/ 51 w 102"/>
                <a:gd name="T3" fmla="*/ 14 h 99"/>
                <a:gd name="T4" fmla="*/ 16 w 102"/>
                <a:gd name="T5" fmla="*/ 49 h 99"/>
                <a:gd name="T6" fmla="*/ 51 w 102"/>
                <a:gd name="T7" fmla="*/ 85 h 99"/>
                <a:gd name="T8" fmla="*/ 87 w 102"/>
                <a:gd name="T9" fmla="*/ 49 h 99"/>
                <a:gd name="T10" fmla="*/ 102 w 102"/>
                <a:gd name="T11" fmla="*/ 49 h 99"/>
                <a:gd name="T12" fmla="*/ 51 w 102"/>
                <a:gd name="T13" fmla="*/ 99 h 99"/>
                <a:gd name="T14" fmla="*/ 0 w 102"/>
                <a:gd name="T15" fmla="*/ 49 h 99"/>
                <a:gd name="T16" fmla="*/ 51 w 102"/>
                <a:gd name="T17" fmla="*/ 0 h 99"/>
                <a:gd name="T18" fmla="*/ 102 w 102"/>
                <a:gd name="T19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99">
                  <a:moveTo>
                    <a:pt x="87" y="49"/>
                  </a:moveTo>
                  <a:cubicBezTo>
                    <a:pt x="87" y="31"/>
                    <a:pt x="74" y="14"/>
                    <a:pt x="51" y="14"/>
                  </a:cubicBezTo>
                  <a:cubicBezTo>
                    <a:pt x="28" y="14"/>
                    <a:pt x="16" y="31"/>
                    <a:pt x="16" y="49"/>
                  </a:cubicBezTo>
                  <a:cubicBezTo>
                    <a:pt x="16" y="69"/>
                    <a:pt x="30" y="85"/>
                    <a:pt x="51" y="85"/>
                  </a:cubicBezTo>
                  <a:cubicBezTo>
                    <a:pt x="72" y="85"/>
                    <a:pt x="87" y="69"/>
                    <a:pt x="87" y="49"/>
                  </a:cubicBezTo>
                  <a:moveTo>
                    <a:pt x="102" y="49"/>
                  </a:moveTo>
                  <a:cubicBezTo>
                    <a:pt x="102" y="78"/>
                    <a:pt x="79" y="99"/>
                    <a:pt x="51" y="99"/>
                  </a:cubicBezTo>
                  <a:cubicBezTo>
                    <a:pt x="23" y="99"/>
                    <a:pt x="0" y="78"/>
                    <a:pt x="0" y="49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74962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072756"/>
            <a:ext cx="8534400" cy="3721496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8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42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19" y="2230844"/>
            <a:ext cx="7655803" cy="506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3967163"/>
            <a:ext cx="7678738" cy="16158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00" b="1" baseline="0">
                <a:latin typeface="+mn-lt"/>
              </a:defRPr>
            </a:lvl1pPr>
            <a:lvl2pPr marL="199701" indent="0">
              <a:buFontTx/>
              <a:buNone/>
              <a:defRPr sz="1300">
                <a:latin typeface="+mn-lt"/>
              </a:defRPr>
            </a:lvl2pPr>
            <a:lvl3pPr marL="405337" indent="0">
              <a:buFontTx/>
              <a:buNone/>
              <a:defRPr sz="1300">
                <a:latin typeface="+mn-lt"/>
              </a:defRPr>
            </a:lvl3pPr>
            <a:lvl4pPr marL="605031" indent="0">
              <a:buFontTx/>
              <a:buNone/>
              <a:defRPr sz="1300">
                <a:latin typeface="+mn-lt"/>
              </a:defRPr>
            </a:lvl4pPr>
            <a:lvl5pPr marL="804740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4138814"/>
            <a:ext cx="7678738" cy="1615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 b="1"/>
            </a:lvl1pPr>
            <a:lvl2pPr marL="199701" indent="0">
              <a:buFontTx/>
              <a:buNone/>
              <a:defRPr sz="1000"/>
            </a:lvl2pPr>
            <a:lvl3pPr marL="405337" indent="0">
              <a:buFontTx/>
              <a:buNone/>
              <a:defRPr sz="1000"/>
            </a:lvl3pPr>
            <a:lvl4pPr marL="605031" indent="0">
              <a:buFontTx/>
              <a:buNone/>
              <a:defRPr sz="1000"/>
            </a:lvl4pPr>
            <a:lvl5pPr marL="804740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96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31" y="1049274"/>
            <a:ext cx="8273143" cy="369646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700" dirty="0" smtClean="0"/>
            </a:lvl1pPr>
            <a:lvl2pPr>
              <a:defRPr lang="en-US" sz="1700" dirty="0" smtClean="0"/>
            </a:lvl2pPr>
            <a:lvl3pPr>
              <a:defRPr lang="en-US" sz="1700" dirty="0" smtClean="0"/>
            </a:lvl3pPr>
            <a:lvl4pPr>
              <a:defRPr lang="en-US" sz="1700" dirty="0" smtClean="0"/>
            </a:lvl4pPr>
            <a:lvl5pPr>
              <a:defRPr lang="en-US" sz="1700" dirty="0" smtClean="0"/>
            </a:lvl5pPr>
            <a:lvl6pPr>
              <a:defRPr lang="en-US" sz="1700" dirty="0" smtClean="0"/>
            </a:lvl6pPr>
            <a:lvl7pPr>
              <a:defRPr lang="en-US" sz="1700" dirty="0" smtClean="0"/>
            </a:lvl7pPr>
            <a:lvl8pPr>
              <a:defRPr lang="en-US" sz="1700" dirty="0" smtClean="0"/>
            </a:lvl8pPr>
            <a:lvl9pPr>
              <a:defRPr lang="en-US" sz="17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90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5581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69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165" indent="-171165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3983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79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68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</p:spPr>
        <p:txBody>
          <a:bodyPr bIns="467337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</p:spPr>
        <p:txBody>
          <a:bodyPr bIns="467337" anchor="ctr">
            <a:normAutofit/>
          </a:bodyPr>
          <a:lstStyle>
            <a:lvl1pPr marL="0" marR="0" indent="0" algn="ctr" defTabSz="4565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</p:spPr>
        <p:txBody>
          <a:bodyPr bIns="467337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</p:spPr>
        <p:txBody>
          <a:bodyPr bIns="467337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605"/>
            <a:ext cx="1220787" cy="1004887"/>
          </a:xfrm>
        </p:spPr>
        <p:txBody>
          <a:bodyPr lIns="71898" tIns="35949" rIns="7189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605"/>
            <a:ext cx="1220786" cy="1004887"/>
          </a:xfrm>
        </p:spPr>
        <p:txBody>
          <a:bodyPr lIns="71898" tIns="35949" rIns="7189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605"/>
            <a:ext cx="1220786" cy="1004887"/>
          </a:xfrm>
        </p:spPr>
        <p:txBody>
          <a:bodyPr lIns="71898" tIns="35949" rIns="7189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605"/>
            <a:ext cx="1220787" cy="1004887"/>
          </a:xfrm>
        </p:spPr>
        <p:txBody>
          <a:bodyPr lIns="71898" tIns="35949" rIns="7189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7075" y="4924444"/>
            <a:ext cx="269965" cy="111919"/>
          </a:xfrm>
        </p:spPr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25" name="citextline"/>
          <p:cNvCxnSpPr/>
          <p:nvPr userDrawn="1"/>
        </p:nvCxnSpPr>
        <p:spPr bwMode="auto">
          <a:xfrm>
            <a:off x="304801" y="4860020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02361" y="234572"/>
            <a:ext cx="7656204" cy="269267"/>
          </a:xfrm>
        </p:spPr>
        <p:txBody>
          <a:bodyPr/>
          <a:lstStyle>
            <a:lvl1pPr>
              <a:tabLst>
                <a:tab pos="2705581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44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77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29201"/>
            <a:ext cx="9144000" cy="1836886"/>
          </a:xfrm>
        </p:spPr>
        <p:txBody>
          <a:bodyPr/>
          <a:lstStyle>
            <a:lvl1pPr marL="228266" indent="0">
              <a:spcBef>
                <a:spcPts val="0"/>
              </a:spcBef>
              <a:buNone/>
              <a:defRPr sz="80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77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30" y="2565017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734" indent="0">
              <a:buFontTx/>
              <a:buNone/>
              <a:defRPr sz="1300">
                <a:latin typeface="+mn-lt"/>
              </a:defRPr>
            </a:lvl2pPr>
            <a:lvl3pPr marL="405405" indent="0">
              <a:buFontTx/>
              <a:buNone/>
              <a:defRPr sz="1300">
                <a:latin typeface="+mn-lt"/>
              </a:defRPr>
            </a:lvl3pPr>
            <a:lvl4pPr marL="605133" indent="0">
              <a:buFontTx/>
              <a:buNone/>
              <a:defRPr sz="1300">
                <a:latin typeface="+mn-lt"/>
              </a:defRPr>
            </a:lvl4pPr>
            <a:lvl5pPr marL="804874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3014625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0748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77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77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30" y="2565017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734" indent="0">
              <a:buFontTx/>
              <a:buNone/>
              <a:defRPr sz="1300">
                <a:latin typeface="+mn-lt"/>
              </a:defRPr>
            </a:lvl2pPr>
            <a:lvl3pPr marL="405405" indent="0">
              <a:buFontTx/>
              <a:buNone/>
              <a:defRPr sz="1300">
                <a:latin typeface="+mn-lt"/>
              </a:defRPr>
            </a:lvl3pPr>
            <a:lvl4pPr marL="605133" indent="0">
              <a:buFontTx/>
              <a:buNone/>
              <a:defRPr sz="1300">
                <a:latin typeface="+mn-lt"/>
              </a:defRPr>
            </a:lvl4pPr>
            <a:lvl5pPr marL="804874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39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" y="0"/>
            <a:ext cx="9143709" cy="51435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951" y="1165860"/>
            <a:ext cx="8530908" cy="3538300"/>
          </a:xfrm>
        </p:spPr>
        <p:txBody>
          <a:bodyPr/>
          <a:lstStyle>
            <a:lvl5pPr marL="1008171" indent="-203298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090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829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8065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799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361" y="517242"/>
            <a:ext cx="7656204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205559" y="4924801"/>
            <a:ext cx="809895" cy="1134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800"/>
            <a:ext cx="269965" cy="113400"/>
          </a:xfrm>
        </p:spPr>
        <p:txBody>
          <a:bodyPr anchor="t"/>
          <a:lstStyle>
            <a:lvl1pPr marL="0" algn="r" defTabSz="684797" rtl="0" eaLnBrk="1" latinLnBrk="0" hangingPunct="1">
              <a:buNone/>
              <a:defRPr b="0"/>
            </a:lvl1pPr>
          </a:lstStyle>
          <a:p>
            <a:fld id="{EC55454F-F9AD-41CF-B3B2-412943C2A25E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3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8171" indent="-203298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090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829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8065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799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11" name="Picture 10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97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4"/>
            <a:ext cx="8536336" cy="3724275"/>
          </a:xfrm>
        </p:spPr>
        <p:txBody>
          <a:bodyPr/>
          <a:lstStyle>
            <a:lvl1pPr marL="273445" indent="-273445">
              <a:buSzPct val="100000"/>
              <a:buFont typeface="+mj-lt"/>
              <a:buAutoNum type="arabicPeriod"/>
              <a:defRPr/>
            </a:lvl1pPr>
            <a:lvl2pPr marL="473182" indent="-199734">
              <a:defRPr/>
            </a:lvl2pPr>
            <a:lvl3pPr marL="672908" indent="-199734">
              <a:defRPr/>
            </a:lvl3pPr>
            <a:lvl4pPr marL="871448" indent="-198544">
              <a:defRPr/>
            </a:lvl4pPr>
            <a:lvl5pPr marL="1071171" indent="-199734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090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8829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8065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7799" indent="-213996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47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58027"/>
            <a:ext cx="6750051" cy="598620"/>
          </a:xfrm>
        </p:spPr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85869"/>
            <a:ext cx="6750051" cy="3779837"/>
          </a:xfrm>
        </p:spPr>
        <p:txBody>
          <a:bodyPr/>
          <a:lstStyle>
            <a:lvl1pPr>
              <a:lnSpc>
                <a:spcPct val="100000"/>
              </a:lnSpc>
              <a:spcAft>
                <a:spcPts val="2400"/>
              </a:spcAft>
              <a:defRPr sz="2400" spc="-5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defRPr sz="2400" spc="-50"/>
            </a:lvl2pPr>
            <a:lvl3pPr marL="0" indent="0">
              <a:buNone/>
              <a:defRPr>
                <a:solidFill>
                  <a:schemeClr val="tx1"/>
                </a:solidFill>
              </a:defRPr>
            </a:lvl3pPr>
            <a:lvl4pPr>
              <a:defRPr sz="1100" b="1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404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78177"/>
            <a:ext cx="8534400" cy="1021556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962547"/>
            <a:ext cx="8534400" cy="1125140"/>
          </a:xfrm>
        </p:spPr>
        <p:txBody>
          <a:bodyPr anchor="b"/>
          <a:lstStyle>
            <a:lvl1pPr marL="0" indent="0">
              <a:buNone/>
              <a:defRPr sz="1300"/>
            </a:lvl1pPr>
            <a:lvl2pPr marL="342398" indent="0">
              <a:buNone/>
              <a:defRPr sz="1300"/>
            </a:lvl2pPr>
            <a:lvl3pPr marL="684797" indent="0">
              <a:buNone/>
              <a:defRPr sz="1200"/>
            </a:lvl3pPr>
            <a:lvl4pPr marL="1027194" indent="0">
              <a:buNone/>
              <a:defRPr sz="1000"/>
            </a:lvl4pPr>
            <a:lvl5pPr marL="1369592" indent="0">
              <a:buNone/>
              <a:defRPr sz="1000"/>
            </a:lvl5pPr>
            <a:lvl6pPr marL="1711987" indent="0">
              <a:buNone/>
              <a:defRPr sz="1000"/>
            </a:lvl6pPr>
            <a:lvl7pPr marL="2054390" indent="0">
              <a:buNone/>
              <a:defRPr sz="1000"/>
            </a:lvl7pPr>
            <a:lvl8pPr marL="2396782" indent="0">
              <a:buNone/>
              <a:defRPr sz="1000"/>
            </a:lvl8pPr>
            <a:lvl9pPr marL="273918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587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081092"/>
            <a:ext cx="4151315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090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82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8065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779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090" marR="0" lvl="5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829" marR="0" lvl="6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065" marR="0" lvl="7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799" marR="0" lvl="8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10" y="1081092"/>
            <a:ext cx="4152528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090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82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8065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779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090" marR="0" lvl="5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829" marR="0" lvl="6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065" marR="0" lvl="7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799" marR="0" lvl="8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36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398" indent="0">
              <a:buNone/>
              <a:defRPr sz="1500" b="1"/>
            </a:lvl2pPr>
            <a:lvl3pPr marL="684797" indent="0">
              <a:buNone/>
              <a:defRPr sz="1300" b="1"/>
            </a:lvl3pPr>
            <a:lvl4pPr marL="1027194" indent="0">
              <a:buNone/>
              <a:defRPr sz="1200" b="1"/>
            </a:lvl4pPr>
            <a:lvl5pPr marL="1369592" indent="0">
              <a:buNone/>
              <a:defRPr sz="1200" b="1"/>
            </a:lvl5pPr>
            <a:lvl6pPr marL="1711987" indent="0">
              <a:buNone/>
              <a:defRPr sz="1200" b="1"/>
            </a:lvl6pPr>
            <a:lvl7pPr marL="2054390" indent="0">
              <a:buNone/>
              <a:defRPr sz="1200" b="1"/>
            </a:lvl7pPr>
            <a:lvl8pPr marL="2396782" indent="0">
              <a:buNone/>
              <a:defRPr sz="1200" b="1"/>
            </a:lvl8pPr>
            <a:lvl9pPr marL="2739186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163115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090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82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8065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779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090" marR="0" lvl="5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829" marR="0" lvl="6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065" marR="0" lvl="7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799" marR="0" lvl="8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398" indent="0">
              <a:buNone/>
              <a:defRPr sz="1500" b="1"/>
            </a:lvl2pPr>
            <a:lvl3pPr marL="684797" indent="0">
              <a:buNone/>
              <a:defRPr sz="1300" b="1"/>
            </a:lvl3pPr>
            <a:lvl4pPr marL="1027194" indent="0">
              <a:buNone/>
              <a:defRPr sz="1200" b="1"/>
            </a:lvl4pPr>
            <a:lvl5pPr marL="1369592" indent="0">
              <a:buNone/>
              <a:defRPr sz="1200" b="1"/>
            </a:lvl5pPr>
            <a:lvl6pPr marL="1711987" indent="0">
              <a:buNone/>
              <a:defRPr sz="1200" b="1"/>
            </a:lvl6pPr>
            <a:lvl7pPr marL="2054390" indent="0">
              <a:buNone/>
              <a:defRPr sz="1200" b="1"/>
            </a:lvl7pPr>
            <a:lvl8pPr marL="2396782" indent="0">
              <a:buNone/>
              <a:defRPr sz="1200" b="1"/>
            </a:lvl8pPr>
            <a:lvl9pPr marL="2739186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162480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090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882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8065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7799" marR="0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090" marR="0" lvl="5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8829" marR="0" lvl="6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065" marR="0" lvl="7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7799" marR="0" lvl="8" indent="-213996" algn="l" defTabSz="6847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17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80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0" y="1072754"/>
            <a:ext cx="8527870" cy="3713559"/>
          </a:xfrm>
        </p:spPr>
        <p:txBody>
          <a:bodyPr/>
          <a:lstStyle>
            <a:lvl1pPr marL="0" indent="0">
              <a:buNone/>
              <a:defRPr sz="2400"/>
            </a:lvl1pPr>
            <a:lvl2pPr marL="342398" indent="0">
              <a:buNone/>
              <a:defRPr sz="2100"/>
            </a:lvl2pPr>
            <a:lvl3pPr marL="684797" indent="0">
              <a:buNone/>
              <a:defRPr sz="1800"/>
            </a:lvl3pPr>
            <a:lvl4pPr marL="1027194" indent="0">
              <a:buNone/>
              <a:defRPr sz="1500"/>
            </a:lvl4pPr>
            <a:lvl5pPr marL="1369592" indent="0">
              <a:buNone/>
              <a:defRPr sz="1500"/>
            </a:lvl5pPr>
            <a:lvl6pPr marL="1711987" indent="0">
              <a:buNone/>
              <a:defRPr sz="1500"/>
            </a:lvl6pPr>
            <a:lvl7pPr marL="2054390" indent="0">
              <a:buNone/>
              <a:defRPr sz="1500"/>
            </a:lvl7pPr>
            <a:lvl8pPr marL="2396782" indent="0">
              <a:buNone/>
              <a:defRPr sz="1500"/>
            </a:lvl8pPr>
            <a:lvl9pPr marL="2739186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1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072756"/>
            <a:ext cx="8534400" cy="3721496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1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8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17" y="2230844"/>
            <a:ext cx="7655803" cy="506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3967163"/>
            <a:ext cx="7678738" cy="16158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00" b="1" baseline="0">
                <a:latin typeface="+mn-lt"/>
              </a:defRPr>
            </a:lvl1pPr>
            <a:lvl2pPr marL="199734" indent="0">
              <a:buFontTx/>
              <a:buNone/>
              <a:defRPr sz="1300">
                <a:latin typeface="+mn-lt"/>
              </a:defRPr>
            </a:lvl2pPr>
            <a:lvl3pPr marL="405405" indent="0">
              <a:buFontTx/>
              <a:buNone/>
              <a:defRPr sz="1300">
                <a:latin typeface="+mn-lt"/>
              </a:defRPr>
            </a:lvl3pPr>
            <a:lvl4pPr marL="605133" indent="0">
              <a:buFontTx/>
              <a:buNone/>
              <a:defRPr sz="1300">
                <a:latin typeface="+mn-lt"/>
              </a:defRPr>
            </a:lvl4pPr>
            <a:lvl5pPr marL="804874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4138814"/>
            <a:ext cx="7678738" cy="1615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 b="1"/>
            </a:lvl1pPr>
            <a:lvl2pPr marL="199734" indent="0">
              <a:buFontTx/>
              <a:buNone/>
              <a:defRPr sz="1000"/>
            </a:lvl2pPr>
            <a:lvl3pPr marL="405405" indent="0">
              <a:buFontTx/>
              <a:buNone/>
              <a:defRPr sz="1000"/>
            </a:lvl3pPr>
            <a:lvl4pPr marL="605133" indent="0">
              <a:buFontTx/>
              <a:buNone/>
              <a:defRPr sz="1000"/>
            </a:lvl4pPr>
            <a:lvl5pPr marL="804874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75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31" y="1049274"/>
            <a:ext cx="8273143" cy="369646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700" dirty="0" smtClean="0"/>
            </a:lvl1pPr>
            <a:lvl2pPr>
              <a:defRPr lang="en-US" sz="1700" dirty="0" smtClean="0"/>
            </a:lvl2pPr>
            <a:lvl3pPr>
              <a:defRPr lang="en-US" sz="1700" dirty="0" smtClean="0"/>
            </a:lvl3pPr>
            <a:lvl4pPr>
              <a:defRPr lang="en-US" sz="1700" dirty="0" smtClean="0"/>
            </a:lvl4pPr>
            <a:lvl5pPr>
              <a:defRPr lang="en-US" sz="1700" dirty="0" smtClean="0"/>
            </a:lvl5pPr>
            <a:lvl6pPr>
              <a:defRPr lang="en-US" sz="1700" dirty="0" smtClean="0"/>
            </a:lvl6pPr>
            <a:lvl7pPr>
              <a:defRPr lang="en-US" sz="1700" dirty="0" smtClean="0"/>
            </a:lvl7pPr>
            <a:lvl8pPr>
              <a:defRPr lang="en-US" sz="1700" dirty="0" smtClean="0"/>
            </a:lvl8pPr>
            <a:lvl9pPr>
              <a:defRPr lang="en-US" sz="17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97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6031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67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195" indent="-171195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4069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45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66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</p:spPr>
        <p:txBody>
          <a:bodyPr bIns="467415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</p:spPr>
        <p:txBody>
          <a:bodyPr bIns="467415" anchor="ctr">
            <a:normAutofit/>
          </a:bodyPr>
          <a:lstStyle>
            <a:lvl1pPr marL="0" marR="0" indent="0" algn="ctr" defTabSz="45663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</p:spPr>
        <p:txBody>
          <a:bodyPr bIns="467415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</p:spPr>
        <p:txBody>
          <a:bodyPr bIns="467415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603"/>
            <a:ext cx="1220787" cy="1004887"/>
          </a:xfrm>
        </p:spPr>
        <p:txBody>
          <a:bodyPr lIns="71910" tIns="35955" rIns="71910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603"/>
            <a:ext cx="1220786" cy="1004887"/>
          </a:xfrm>
        </p:spPr>
        <p:txBody>
          <a:bodyPr lIns="71910" tIns="35955" rIns="71910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603"/>
            <a:ext cx="1220786" cy="1004887"/>
          </a:xfrm>
        </p:spPr>
        <p:txBody>
          <a:bodyPr lIns="71910" tIns="35955" rIns="71910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603"/>
            <a:ext cx="1220787" cy="1004887"/>
          </a:xfrm>
        </p:spPr>
        <p:txBody>
          <a:bodyPr lIns="71910" tIns="35955" rIns="71910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7075" y="4924442"/>
            <a:ext cx="269965" cy="111919"/>
          </a:xfrm>
        </p:spPr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25" name="citextline"/>
          <p:cNvCxnSpPr/>
          <p:nvPr userDrawn="1"/>
        </p:nvCxnSpPr>
        <p:spPr bwMode="auto">
          <a:xfrm>
            <a:off x="304801" y="4860018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02361" y="234570"/>
            <a:ext cx="7656204" cy="269267"/>
          </a:xfrm>
        </p:spPr>
        <p:txBody>
          <a:bodyPr/>
          <a:lstStyle>
            <a:lvl1pPr>
              <a:tabLst>
                <a:tab pos="2706031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26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28731"/>
            <a:ext cx="6750050" cy="3736975"/>
          </a:xfrm>
        </p:spPr>
        <p:txBody>
          <a:bodyPr/>
          <a:lstStyle>
            <a:lvl4pPr>
              <a:defRPr sz="3400" spc="-5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450850" y="1002886"/>
            <a:ext cx="869315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245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74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29201"/>
            <a:ext cx="9144000" cy="1836886"/>
          </a:xfrm>
        </p:spPr>
        <p:txBody>
          <a:bodyPr/>
          <a:lstStyle>
            <a:lvl1pPr marL="228323" indent="0">
              <a:spcBef>
                <a:spcPts val="0"/>
              </a:spcBef>
              <a:buNone/>
              <a:defRPr sz="80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74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27" y="2565014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783" indent="0">
              <a:buFontTx/>
              <a:buNone/>
              <a:defRPr sz="1300">
                <a:latin typeface="+mn-lt"/>
              </a:defRPr>
            </a:lvl2pPr>
            <a:lvl3pPr marL="405507" indent="0">
              <a:buFontTx/>
              <a:buNone/>
              <a:defRPr sz="1300">
                <a:latin typeface="+mn-lt"/>
              </a:defRPr>
            </a:lvl3pPr>
            <a:lvl4pPr marL="605286" indent="0">
              <a:buFontTx/>
              <a:buNone/>
              <a:defRPr sz="1300">
                <a:latin typeface="+mn-lt"/>
              </a:defRPr>
            </a:lvl4pPr>
            <a:lvl5pPr marL="805075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3014625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37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74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74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27" y="2565014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783" indent="0">
              <a:buFontTx/>
              <a:buNone/>
              <a:defRPr sz="1300">
                <a:latin typeface="+mn-lt"/>
              </a:defRPr>
            </a:lvl2pPr>
            <a:lvl3pPr marL="405507" indent="0">
              <a:buFontTx/>
              <a:buNone/>
              <a:defRPr sz="1300">
                <a:latin typeface="+mn-lt"/>
              </a:defRPr>
            </a:lvl3pPr>
            <a:lvl4pPr marL="605286" indent="0">
              <a:buFontTx/>
              <a:buNone/>
              <a:defRPr sz="1300">
                <a:latin typeface="+mn-lt"/>
              </a:defRPr>
            </a:lvl4pPr>
            <a:lvl5pPr marL="805075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35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" y="0"/>
            <a:ext cx="9143709" cy="51435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951" y="1165860"/>
            <a:ext cx="8530908" cy="3538300"/>
          </a:xfrm>
        </p:spPr>
        <p:txBody>
          <a:bodyPr/>
          <a:lstStyle>
            <a:lvl5pPr marL="1008423" indent="-203349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392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9180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8470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8253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361" y="517242"/>
            <a:ext cx="7656204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205556" y="4924801"/>
            <a:ext cx="809895" cy="1134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800"/>
            <a:ext cx="269965" cy="113400"/>
          </a:xfrm>
        </p:spPr>
        <p:txBody>
          <a:bodyPr anchor="t"/>
          <a:lstStyle>
            <a:lvl1pPr marL="0" algn="r" defTabSz="684968" rtl="0" eaLnBrk="1" latinLnBrk="0" hangingPunct="1">
              <a:buNone/>
              <a:defRPr b="0"/>
            </a:lvl1pPr>
          </a:lstStyle>
          <a:p>
            <a:fld id="{EC55454F-F9AD-41CF-B3B2-412943C2A25E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76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8423" indent="-203349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392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9180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8470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8253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31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4"/>
            <a:ext cx="8536336" cy="3724275"/>
          </a:xfrm>
        </p:spPr>
        <p:txBody>
          <a:bodyPr/>
          <a:lstStyle>
            <a:lvl1pPr marL="273513" indent="-273513">
              <a:buSzPct val="100000"/>
              <a:buFont typeface="+mj-lt"/>
              <a:buAutoNum type="arabicPeriod"/>
              <a:defRPr/>
            </a:lvl1pPr>
            <a:lvl2pPr marL="473299" indent="-199783">
              <a:defRPr/>
            </a:lvl2pPr>
            <a:lvl3pPr marL="673076" indent="-199783">
              <a:defRPr/>
            </a:lvl3pPr>
            <a:lvl4pPr marL="871664" indent="-198594">
              <a:defRPr/>
            </a:lvl4pPr>
            <a:lvl5pPr marL="1071441" indent="-199783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392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9180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8470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8253" indent="-21405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03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78177"/>
            <a:ext cx="8534400" cy="1021556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962547"/>
            <a:ext cx="8534400" cy="1125140"/>
          </a:xfrm>
        </p:spPr>
        <p:txBody>
          <a:bodyPr anchor="b"/>
          <a:lstStyle>
            <a:lvl1pPr marL="0" indent="0">
              <a:buNone/>
              <a:defRPr sz="1300"/>
            </a:lvl1pPr>
            <a:lvl2pPr marL="342484" indent="0">
              <a:buNone/>
              <a:defRPr sz="1300"/>
            </a:lvl2pPr>
            <a:lvl3pPr marL="684968" indent="0">
              <a:buNone/>
              <a:defRPr sz="1200"/>
            </a:lvl3pPr>
            <a:lvl4pPr marL="1027451" indent="0">
              <a:buNone/>
              <a:defRPr sz="1000"/>
            </a:lvl4pPr>
            <a:lvl5pPr marL="1369934" indent="0">
              <a:buNone/>
              <a:defRPr sz="1000"/>
            </a:lvl5pPr>
            <a:lvl6pPr marL="1712416" indent="0">
              <a:buNone/>
              <a:defRPr sz="1000"/>
            </a:lvl6pPr>
            <a:lvl7pPr marL="2054903" indent="0">
              <a:buNone/>
              <a:defRPr sz="1000"/>
            </a:lvl7pPr>
            <a:lvl8pPr marL="2397382" indent="0">
              <a:buNone/>
              <a:defRPr sz="1000"/>
            </a:lvl8pPr>
            <a:lvl9pPr marL="273987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73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081092"/>
            <a:ext cx="4151315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392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18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847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8253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392" marR="0" lvl="5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180" marR="0" lvl="6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470" marR="0" lvl="7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8253" marR="0" lvl="8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10" y="1081092"/>
            <a:ext cx="4152528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392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18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847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8253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392" marR="0" lvl="5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180" marR="0" lvl="6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470" marR="0" lvl="7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8253" marR="0" lvl="8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94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484" indent="0">
              <a:buNone/>
              <a:defRPr sz="1500" b="1"/>
            </a:lvl2pPr>
            <a:lvl3pPr marL="684968" indent="0">
              <a:buNone/>
              <a:defRPr sz="1300" b="1"/>
            </a:lvl3pPr>
            <a:lvl4pPr marL="1027451" indent="0">
              <a:buNone/>
              <a:defRPr sz="1200" b="1"/>
            </a:lvl4pPr>
            <a:lvl5pPr marL="1369934" indent="0">
              <a:buNone/>
              <a:defRPr sz="1200" b="1"/>
            </a:lvl5pPr>
            <a:lvl6pPr marL="1712416" indent="0">
              <a:buNone/>
              <a:defRPr sz="1200" b="1"/>
            </a:lvl6pPr>
            <a:lvl7pPr marL="2054903" indent="0">
              <a:buNone/>
              <a:defRPr sz="1200" b="1"/>
            </a:lvl7pPr>
            <a:lvl8pPr marL="2397382" indent="0">
              <a:buNone/>
              <a:defRPr sz="1200" b="1"/>
            </a:lvl8pPr>
            <a:lvl9pPr marL="273987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163115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392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18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847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8253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392" marR="0" lvl="5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180" marR="0" lvl="6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470" marR="0" lvl="7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8253" marR="0" lvl="8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484" indent="0">
              <a:buNone/>
              <a:defRPr sz="1500" b="1"/>
            </a:lvl2pPr>
            <a:lvl3pPr marL="684968" indent="0">
              <a:buNone/>
              <a:defRPr sz="1300" b="1"/>
            </a:lvl3pPr>
            <a:lvl4pPr marL="1027451" indent="0">
              <a:buNone/>
              <a:defRPr sz="1200" b="1"/>
            </a:lvl4pPr>
            <a:lvl5pPr marL="1369934" indent="0">
              <a:buNone/>
              <a:defRPr sz="1200" b="1"/>
            </a:lvl5pPr>
            <a:lvl6pPr marL="1712416" indent="0">
              <a:buNone/>
              <a:defRPr sz="1200" b="1"/>
            </a:lvl6pPr>
            <a:lvl7pPr marL="2054903" indent="0">
              <a:buNone/>
              <a:defRPr sz="1200" b="1"/>
            </a:lvl7pPr>
            <a:lvl8pPr marL="2397382" indent="0">
              <a:buNone/>
              <a:defRPr sz="1200" b="1"/>
            </a:lvl8pPr>
            <a:lvl9pPr marL="273987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162480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392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18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8470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8253" marR="0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392" marR="0" lvl="5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180" marR="0" lvl="6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8470" marR="0" lvl="7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8253" marR="0" lvl="8" indent="-214050" algn="l" defTabSz="68496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46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10" name="Picture 9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33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0" y="1072754"/>
            <a:ext cx="8527870" cy="3713559"/>
          </a:xfrm>
        </p:spPr>
        <p:txBody>
          <a:bodyPr/>
          <a:lstStyle>
            <a:lvl1pPr marL="0" indent="0">
              <a:buNone/>
              <a:defRPr sz="2400"/>
            </a:lvl1pPr>
            <a:lvl2pPr marL="342484" indent="0">
              <a:buNone/>
              <a:defRPr sz="2100"/>
            </a:lvl2pPr>
            <a:lvl3pPr marL="684968" indent="0">
              <a:buNone/>
              <a:defRPr sz="1800"/>
            </a:lvl3pPr>
            <a:lvl4pPr marL="1027451" indent="0">
              <a:buNone/>
              <a:defRPr sz="1500"/>
            </a:lvl4pPr>
            <a:lvl5pPr marL="1369934" indent="0">
              <a:buNone/>
              <a:defRPr sz="1500"/>
            </a:lvl5pPr>
            <a:lvl6pPr marL="1712416" indent="0">
              <a:buNone/>
              <a:defRPr sz="1500"/>
            </a:lvl6pPr>
            <a:lvl7pPr marL="2054903" indent="0">
              <a:buNone/>
              <a:defRPr sz="1500"/>
            </a:lvl7pPr>
            <a:lvl8pPr marL="2397382" indent="0">
              <a:buNone/>
              <a:defRPr sz="1500"/>
            </a:lvl8pPr>
            <a:lvl9pPr marL="273987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51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5806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50852" y="1128731"/>
            <a:ext cx="2632075" cy="3736975"/>
          </a:xfrm>
        </p:spPr>
        <p:txBody>
          <a:bodyPr bIns="654228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3172251" y="1128713"/>
            <a:ext cx="0" cy="3710583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256718" y="1085850"/>
            <a:ext cx="5438019" cy="377983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lnSpc>
                <a:spcPct val="105000"/>
              </a:lnSpc>
              <a:spcAft>
                <a:spcPts val="900"/>
              </a:spcAft>
              <a:defRPr sz="1100"/>
            </a:lvl3pPr>
            <a:lvl4pPr>
              <a:spcAft>
                <a:spcPts val="2000"/>
              </a:spcAft>
              <a:defRPr sz="3200" spc="-50"/>
            </a:lvl4pPr>
            <a:lvl5pPr>
              <a:spcAft>
                <a:spcPts val="1200"/>
              </a:spcAft>
              <a:defRPr sz="2400" spc="-5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023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072756"/>
            <a:ext cx="8534400" cy="3721496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9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33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14" y="2230844"/>
            <a:ext cx="7655803" cy="506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3967163"/>
            <a:ext cx="7678738" cy="16158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00" b="1" baseline="0">
                <a:latin typeface="+mn-lt"/>
              </a:defRPr>
            </a:lvl1pPr>
            <a:lvl2pPr marL="199783" indent="0">
              <a:buFontTx/>
              <a:buNone/>
              <a:defRPr sz="1300">
                <a:latin typeface="+mn-lt"/>
              </a:defRPr>
            </a:lvl2pPr>
            <a:lvl3pPr marL="405507" indent="0">
              <a:buFontTx/>
              <a:buNone/>
              <a:defRPr sz="1300">
                <a:latin typeface="+mn-lt"/>
              </a:defRPr>
            </a:lvl3pPr>
            <a:lvl4pPr marL="605286" indent="0">
              <a:buFontTx/>
              <a:buNone/>
              <a:defRPr sz="1300">
                <a:latin typeface="+mn-lt"/>
              </a:defRPr>
            </a:lvl4pPr>
            <a:lvl5pPr marL="805075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4138814"/>
            <a:ext cx="7678738" cy="1615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 b="1"/>
            </a:lvl1pPr>
            <a:lvl2pPr marL="199783" indent="0">
              <a:buFontTx/>
              <a:buNone/>
              <a:defRPr sz="1000"/>
            </a:lvl2pPr>
            <a:lvl3pPr marL="405507" indent="0">
              <a:buFontTx/>
              <a:buNone/>
              <a:defRPr sz="1000"/>
            </a:lvl3pPr>
            <a:lvl4pPr marL="605286" indent="0">
              <a:buFontTx/>
              <a:buNone/>
              <a:defRPr sz="1000"/>
            </a:lvl4pPr>
            <a:lvl5pPr marL="805075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75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31" y="1049274"/>
            <a:ext cx="8273143" cy="369646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700" dirty="0" smtClean="0"/>
            </a:lvl1pPr>
            <a:lvl2pPr>
              <a:defRPr lang="en-US" sz="1700" dirty="0" smtClean="0"/>
            </a:lvl2pPr>
            <a:lvl3pPr>
              <a:defRPr lang="en-US" sz="1700" dirty="0" smtClean="0"/>
            </a:lvl3pPr>
            <a:lvl4pPr>
              <a:defRPr lang="en-US" sz="1700" dirty="0" smtClean="0"/>
            </a:lvl4pPr>
            <a:lvl5pPr>
              <a:defRPr lang="en-US" sz="1700" dirty="0" smtClean="0"/>
            </a:lvl5pPr>
            <a:lvl6pPr>
              <a:defRPr lang="en-US" sz="1700" dirty="0" smtClean="0"/>
            </a:lvl6pPr>
            <a:lvl7pPr>
              <a:defRPr lang="en-US" sz="1700" dirty="0" smtClean="0"/>
            </a:lvl7pPr>
            <a:lvl8pPr>
              <a:defRPr lang="en-US" sz="1700" dirty="0" smtClean="0"/>
            </a:lvl8pPr>
            <a:lvl9pPr>
              <a:defRPr lang="en-US" sz="17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17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6706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64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240" indent="-171240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4198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31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63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</p:spPr>
        <p:txBody>
          <a:bodyPr bIns="467532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</p:spPr>
        <p:txBody>
          <a:bodyPr bIns="467532" anchor="ctr">
            <a:normAutofit/>
          </a:bodyPr>
          <a:lstStyle>
            <a:lvl1pPr marL="0" marR="0" indent="0" algn="ctr" defTabSz="45674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</p:spPr>
        <p:txBody>
          <a:bodyPr bIns="467532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</p:spPr>
        <p:txBody>
          <a:bodyPr bIns="467532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600"/>
            <a:ext cx="1220787" cy="1004887"/>
          </a:xfrm>
        </p:spPr>
        <p:txBody>
          <a:bodyPr lIns="71928" tIns="35964" rIns="7192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600"/>
            <a:ext cx="1220786" cy="1004887"/>
          </a:xfrm>
        </p:spPr>
        <p:txBody>
          <a:bodyPr lIns="71928" tIns="35964" rIns="7192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600"/>
            <a:ext cx="1220786" cy="1004887"/>
          </a:xfrm>
        </p:spPr>
        <p:txBody>
          <a:bodyPr lIns="71928" tIns="35964" rIns="7192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600"/>
            <a:ext cx="1220787" cy="1004887"/>
          </a:xfrm>
        </p:spPr>
        <p:txBody>
          <a:bodyPr lIns="71928" tIns="35964" rIns="7192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7075" y="4924439"/>
            <a:ext cx="269965" cy="111919"/>
          </a:xfrm>
        </p:spPr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25" name="citextline"/>
          <p:cNvCxnSpPr/>
          <p:nvPr userDrawn="1"/>
        </p:nvCxnSpPr>
        <p:spPr bwMode="auto">
          <a:xfrm>
            <a:off x="304801" y="4860015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02361" y="234567"/>
            <a:ext cx="7656204" cy="269267"/>
          </a:xfrm>
        </p:spPr>
        <p:txBody>
          <a:bodyPr/>
          <a:lstStyle>
            <a:lvl1pPr>
              <a:tabLst>
                <a:tab pos="2706706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9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69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29201"/>
            <a:ext cx="9144000" cy="1836886"/>
          </a:xfrm>
        </p:spPr>
        <p:txBody>
          <a:bodyPr/>
          <a:lstStyle>
            <a:lvl1pPr marL="228418" indent="0">
              <a:spcBef>
                <a:spcPts val="0"/>
              </a:spcBef>
              <a:buNone/>
              <a:defRPr sz="80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69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22" y="2565009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866" indent="0">
              <a:buFontTx/>
              <a:buNone/>
              <a:defRPr sz="1300">
                <a:latin typeface="+mn-lt"/>
              </a:defRPr>
            </a:lvl2pPr>
            <a:lvl3pPr marL="405677" indent="0">
              <a:buFontTx/>
              <a:buNone/>
              <a:defRPr sz="1300">
                <a:latin typeface="+mn-lt"/>
              </a:defRPr>
            </a:lvl3pPr>
            <a:lvl4pPr marL="605541" indent="0">
              <a:buFontTx/>
              <a:buNone/>
              <a:defRPr sz="1300">
                <a:latin typeface="+mn-lt"/>
              </a:defRPr>
            </a:lvl4pPr>
            <a:lvl5pPr marL="805410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3014625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3909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369" y="1215001"/>
            <a:ext cx="8517391" cy="697238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21" y="229500"/>
            <a:ext cx="850281" cy="54864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369" y="1901533"/>
            <a:ext cx="8517391" cy="611706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22" y="2565009"/>
            <a:ext cx="8516937" cy="238817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199866" indent="0">
              <a:buFontTx/>
              <a:buNone/>
              <a:defRPr sz="1300">
                <a:latin typeface="+mn-lt"/>
              </a:defRPr>
            </a:lvl2pPr>
            <a:lvl3pPr marL="405677" indent="0">
              <a:buFontTx/>
              <a:buNone/>
              <a:defRPr sz="1300">
                <a:latin typeface="+mn-lt"/>
              </a:defRPr>
            </a:lvl3pPr>
            <a:lvl4pPr marL="605541" indent="0">
              <a:buFontTx/>
              <a:buNone/>
              <a:defRPr sz="1300">
                <a:latin typeface="+mn-lt"/>
              </a:defRPr>
            </a:lvl4pPr>
            <a:lvl5pPr marL="805410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8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" y="0"/>
            <a:ext cx="9143709" cy="51435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951" y="1165860"/>
            <a:ext cx="8530908" cy="3538300"/>
          </a:xfrm>
        </p:spPr>
        <p:txBody>
          <a:bodyPr/>
          <a:lstStyle>
            <a:lvl5pPr marL="1008843" indent="-203434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897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9765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9145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9011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361" y="517242"/>
            <a:ext cx="7656204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205551" y="4924801"/>
            <a:ext cx="809895" cy="1134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800"/>
            <a:ext cx="269965" cy="113400"/>
          </a:xfrm>
        </p:spPr>
        <p:txBody>
          <a:bodyPr anchor="t"/>
          <a:lstStyle>
            <a:lvl1pPr marL="0" algn="r" defTabSz="685253" rtl="0" eaLnBrk="1" latinLnBrk="0" hangingPunct="1">
              <a:buNone/>
              <a:defRPr b="0"/>
            </a:lvl1pPr>
          </a:lstStyle>
          <a:p>
            <a:fld id="{EC55454F-F9AD-41CF-B3B2-412943C2A25E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43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4" y="1072755"/>
            <a:ext cx="8536336" cy="3719747"/>
          </a:xfrm>
        </p:spPr>
        <p:txBody>
          <a:bodyPr/>
          <a:lstStyle>
            <a:lvl5pPr marL="1008843" indent="-203434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897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9765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9145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9011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22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4"/>
            <a:ext cx="8536336" cy="3724275"/>
          </a:xfrm>
        </p:spPr>
        <p:txBody>
          <a:bodyPr/>
          <a:lstStyle>
            <a:lvl1pPr marL="273625" indent="-273625">
              <a:buSzPct val="100000"/>
              <a:buFont typeface="+mj-lt"/>
              <a:buAutoNum type="arabicPeriod"/>
              <a:defRPr/>
            </a:lvl1pPr>
            <a:lvl2pPr marL="473494" indent="-199866">
              <a:defRPr/>
            </a:lvl2pPr>
            <a:lvl3pPr marL="673356" indent="-199866">
              <a:defRPr/>
            </a:lvl3pPr>
            <a:lvl4pPr marL="872029" indent="-198676">
              <a:defRPr/>
            </a:lvl4pPr>
            <a:lvl5pPr marL="1071891" indent="-199866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09897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09765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19145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19011" indent="-214140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00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5806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68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180" indent="-171180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4026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3172251" y="1128713"/>
            <a:ext cx="0" cy="3710583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179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78177"/>
            <a:ext cx="8534400" cy="1021556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962547"/>
            <a:ext cx="8534400" cy="1125140"/>
          </a:xfrm>
        </p:spPr>
        <p:txBody>
          <a:bodyPr anchor="b"/>
          <a:lstStyle>
            <a:lvl1pPr marL="0" indent="0">
              <a:buNone/>
              <a:defRPr sz="1300"/>
            </a:lvl1pPr>
            <a:lvl2pPr marL="342626" indent="0">
              <a:buNone/>
              <a:defRPr sz="1300"/>
            </a:lvl2pPr>
            <a:lvl3pPr marL="685253" indent="0">
              <a:buNone/>
              <a:defRPr sz="1200"/>
            </a:lvl3pPr>
            <a:lvl4pPr marL="1027878" indent="0">
              <a:buNone/>
              <a:defRPr sz="1000"/>
            </a:lvl4pPr>
            <a:lvl5pPr marL="1370504" indent="0">
              <a:buNone/>
              <a:defRPr sz="1000"/>
            </a:lvl5pPr>
            <a:lvl6pPr marL="1713129" indent="0">
              <a:buNone/>
              <a:defRPr sz="1000"/>
            </a:lvl6pPr>
            <a:lvl7pPr marL="2055758" indent="0">
              <a:buNone/>
              <a:defRPr sz="1000"/>
            </a:lvl7pPr>
            <a:lvl8pPr marL="2398380" indent="0">
              <a:buNone/>
              <a:defRPr sz="1000"/>
            </a:lvl8pPr>
            <a:lvl9pPr marL="274101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41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081092"/>
            <a:ext cx="4151315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897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76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914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9011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897" marR="0" lvl="5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765" marR="0" lvl="6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145" marR="0" lvl="7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011" marR="0" lvl="8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10" y="1081092"/>
            <a:ext cx="4152528" cy="3715943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897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76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7pPr>
            <a:lvl8pPr marL="161914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8pPr>
            <a:lvl9pPr marL="1819011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897" marR="0" lvl="5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765" marR="0" lvl="6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145" marR="0" lvl="7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011" marR="0" lvl="8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67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626" indent="0">
              <a:buNone/>
              <a:defRPr sz="1500" b="1"/>
            </a:lvl2pPr>
            <a:lvl3pPr marL="685253" indent="0">
              <a:buNone/>
              <a:defRPr sz="1300" b="1"/>
            </a:lvl3pPr>
            <a:lvl4pPr marL="1027878" indent="0">
              <a:buNone/>
              <a:defRPr sz="1200" b="1"/>
            </a:lvl4pPr>
            <a:lvl5pPr marL="1370504" indent="0">
              <a:buNone/>
              <a:defRPr sz="1200" b="1"/>
            </a:lvl5pPr>
            <a:lvl6pPr marL="1713129" indent="0">
              <a:buNone/>
              <a:defRPr sz="1200" b="1"/>
            </a:lvl6pPr>
            <a:lvl7pPr marL="2055758" indent="0">
              <a:buNone/>
              <a:defRPr sz="1200" b="1"/>
            </a:lvl7pPr>
            <a:lvl8pPr marL="2398380" indent="0">
              <a:buNone/>
              <a:defRPr sz="1200" b="1"/>
            </a:lvl8pPr>
            <a:lvl9pPr marL="274101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163115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897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76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914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9011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897" marR="0" lvl="5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765" marR="0" lvl="6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145" marR="0" lvl="7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011" marR="0" lvl="8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072753"/>
            <a:ext cx="415713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626" indent="0">
              <a:buNone/>
              <a:defRPr sz="1500" b="1"/>
            </a:lvl2pPr>
            <a:lvl3pPr marL="685253" indent="0">
              <a:buNone/>
              <a:defRPr sz="1300" b="1"/>
            </a:lvl3pPr>
            <a:lvl4pPr marL="1027878" indent="0">
              <a:buNone/>
              <a:defRPr sz="1200" b="1"/>
            </a:lvl4pPr>
            <a:lvl5pPr marL="1370504" indent="0">
              <a:buNone/>
              <a:defRPr sz="1200" b="1"/>
            </a:lvl5pPr>
            <a:lvl6pPr marL="1713129" indent="0">
              <a:buNone/>
              <a:defRPr sz="1200" b="1"/>
            </a:lvl6pPr>
            <a:lvl7pPr marL="2055758" indent="0">
              <a:buNone/>
              <a:defRPr sz="1200" b="1"/>
            </a:lvl7pPr>
            <a:lvl8pPr marL="2398380" indent="0">
              <a:buNone/>
              <a:defRPr sz="1200" b="1"/>
            </a:lvl8pPr>
            <a:lvl9pPr marL="274101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1624807"/>
            <a:ext cx="4157133" cy="3155156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09897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00"/>
            </a:lvl6pPr>
            <a:lvl7pPr marL="140976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19145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19011" marR="0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9897" marR="0" lvl="5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09765" marR="0" lvl="6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19145" marR="0" lvl="7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19011" marR="0" lvl="8" indent="-214140" algn="l" defTabSz="685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842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10" name="Picture 9" descr="Forum logo 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39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0" y="1072754"/>
            <a:ext cx="8527870" cy="3713559"/>
          </a:xfrm>
        </p:spPr>
        <p:txBody>
          <a:bodyPr/>
          <a:lstStyle>
            <a:lvl1pPr marL="0" indent="0">
              <a:buNone/>
              <a:defRPr sz="2400"/>
            </a:lvl1pPr>
            <a:lvl2pPr marL="342626" indent="0">
              <a:buNone/>
              <a:defRPr sz="2100"/>
            </a:lvl2pPr>
            <a:lvl3pPr marL="685253" indent="0">
              <a:buNone/>
              <a:defRPr sz="1800"/>
            </a:lvl3pPr>
            <a:lvl4pPr marL="1027878" indent="0">
              <a:buNone/>
              <a:defRPr sz="1500"/>
            </a:lvl4pPr>
            <a:lvl5pPr marL="1370504" indent="0">
              <a:buNone/>
              <a:defRPr sz="1500"/>
            </a:lvl5pPr>
            <a:lvl6pPr marL="1713129" indent="0">
              <a:buNone/>
              <a:defRPr sz="1500"/>
            </a:lvl6pPr>
            <a:lvl7pPr marL="2055758" indent="0">
              <a:buNone/>
              <a:defRPr sz="1500"/>
            </a:lvl7pPr>
            <a:lvl8pPr marL="2398380" indent="0">
              <a:buNone/>
              <a:defRPr sz="1500"/>
            </a:lvl8pPr>
            <a:lvl9pPr marL="274101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11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072756"/>
            <a:ext cx="8534400" cy="3721496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4800" y="517242"/>
            <a:ext cx="7658100" cy="297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9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9" y="2230844"/>
            <a:ext cx="7655803" cy="506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3967163"/>
            <a:ext cx="7678738" cy="16158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00" b="1" baseline="0">
                <a:latin typeface="+mn-lt"/>
              </a:defRPr>
            </a:lvl1pPr>
            <a:lvl2pPr marL="199866" indent="0">
              <a:buFontTx/>
              <a:buNone/>
              <a:defRPr sz="1300">
                <a:latin typeface="+mn-lt"/>
              </a:defRPr>
            </a:lvl2pPr>
            <a:lvl3pPr marL="405677" indent="0">
              <a:buFontTx/>
              <a:buNone/>
              <a:defRPr sz="1300">
                <a:latin typeface="+mn-lt"/>
              </a:defRPr>
            </a:lvl3pPr>
            <a:lvl4pPr marL="605541" indent="0">
              <a:buFontTx/>
              <a:buNone/>
              <a:defRPr sz="1300">
                <a:latin typeface="+mn-lt"/>
              </a:defRPr>
            </a:lvl4pPr>
            <a:lvl5pPr marL="805410" indent="0">
              <a:buFontTx/>
              <a:buNone/>
              <a:defRPr sz="13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4138814"/>
            <a:ext cx="7678738" cy="16158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0" b="1"/>
            </a:lvl1pPr>
            <a:lvl2pPr marL="199866" indent="0">
              <a:buFontTx/>
              <a:buNone/>
              <a:defRPr sz="1000"/>
            </a:lvl2pPr>
            <a:lvl3pPr marL="405677" indent="0">
              <a:buFontTx/>
              <a:buNone/>
              <a:defRPr sz="1000"/>
            </a:lvl3pPr>
            <a:lvl4pPr marL="605541" indent="0">
              <a:buFontTx/>
              <a:buNone/>
              <a:defRPr sz="1000"/>
            </a:lvl4pPr>
            <a:lvl5pPr marL="805410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2402688" y="4924801"/>
            <a:ext cx="5669262" cy="113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0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31" y="1049274"/>
            <a:ext cx="8273143" cy="369646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700" dirty="0" smtClean="0"/>
            </a:lvl1pPr>
            <a:lvl2pPr>
              <a:defRPr lang="en-US" sz="1700" dirty="0" smtClean="0"/>
            </a:lvl2pPr>
            <a:lvl3pPr>
              <a:defRPr lang="en-US" sz="1700" dirty="0" smtClean="0"/>
            </a:lvl3pPr>
            <a:lvl4pPr>
              <a:defRPr lang="en-US" sz="1700" dirty="0" smtClean="0"/>
            </a:lvl4pPr>
            <a:lvl5pPr>
              <a:defRPr lang="en-US" sz="1700" dirty="0" smtClean="0"/>
            </a:lvl5pPr>
            <a:lvl6pPr>
              <a:defRPr lang="en-US" sz="1700" dirty="0" smtClean="0"/>
            </a:lvl6pPr>
            <a:lvl7pPr>
              <a:defRPr lang="en-US" sz="1700" dirty="0" smtClean="0"/>
            </a:lvl7pPr>
            <a:lvl8pPr>
              <a:defRPr lang="en-US" sz="1700" dirty="0" smtClean="0"/>
            </a:lvl8pPr>
            <a:lvl9pPr>
              <a:defRPr lang="en-US" sz="17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96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tabLst>
                <a:tab pos="2707833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50859" y="1085850"/>
            <a:ext cx="2630133" cy="377983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2400" spc="-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b="0">
                <a:solidFill>
                  <a:schemeClr val="tx1"/>
                </a:solidFill>
              </a:defRPr>
            </a:lvl2pPr>
            <a:lvl3pPr marL="171315" indent="-171315">
              <a:spcBef>
                <a:spcPts val="0"/>
              </a:spcBef>
              <a:spcAft>
                <a:spcPts val="1200"/>
              </a:spcAft>
              <a:buSzPct val="100000"/>
              <a:buFont typeface="Lucida Grande"/>
              <a:buChar char="●"/>
              <a:defRPr b="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257550" y="1128712"/>
            <a:ext cx="5437188" cy="3736976"/>
          </a:xfrm>
        </p:spPr>
        <p:txBody>
          <a:bodyPr bIns="514413" anchor="ctr"/>
          <a:lstStyle>
            <a:lvl1pPr algn="ctr">
              <a:defRPr/>
            </a:lvl1pPr>
          </a:lstStyle>
          <a:p>
            <a:r>
              <a:rPr lang="en-US" dirty="0" smtClean="0"/>
              <a:t>Click icon to 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39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ur Conversation Tod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085858"/>
            <a:ext cx="2581404" cy="3780223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 spc="-50">
                <a:solidFill>
                  <a:srgbClr val="35478B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2400" spc="-50"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>
              <a:defRPr sz="1100" b="1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Our Conversation Today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170566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69392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975463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7381534" y="1145310"/>
            <a:ext cx="0" cy="3720767"/>
          </a:xfrm>
          <a:prstGeom prst="line">
            <a:avLst/>
          </a:prstGeom>
          <a:ln w="6350" cmpd="sng">
            <a:solidFill>
              <a:srgbClr val="35478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3255963" y="1144589"/>
            <a:ext cx="1220787" cy="3721486"/>
          </a:xfrm>
        </p:spPr>
        <p:txBody>
          <a:bodyPr bIns="467727" anchor="ctr">
            <a:normAutofit/>
          </a:bodyPr>
          <a:lstStyle>
            <a:lvl1pPr algn="ctr"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4662036" y="1144589"/>
            <a:ext cx="1220787" cy="3721486"/>
          </a:xfrm>
        </p:spPr>
        <p:txBody>
          <a:bodyPr bIns="467727" anchor="ctr">
            <a:normAutofit/>
          </a:bodyPr>
          <a:lstStyle>
            <a:lvl1pPr marL="0" marR="0" indent="0" algn="ctr" defTabSz="45693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6068105" y="1144589"/>
            <a:ext cx="1220787" cy="3721486"/>
          </a:xfrm>
        </p:spPr>
        <p:txBody>
          <a:bodyPr bIns="467727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7474177" y="1144589"/>
            <a:ext cx="1220787" cy="3721486"/>
          </a:xfrm>
        </p:spPr>
        <p:txBody>
          <a:bodyPr bIns="467727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255963" y="1144595"/>
            <a:ext cx="1220787" cy="1004887"/>
          </a:xfrm>
        </p:spPr>
        <p:txBody>
          <a:bodyPr lIns="71958" tIns="35979" rIns="7195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662035" y="1144595"/>
            <a:ext cx="1220786" cy="1004887"/>
          </a:xfrm>
        </p:spPr>
        <p:txBody>
          <a:bodyPr lIns="71958" tIns="35979" rIns="7195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068107" y="1144595"/>
            <a:ext cx="1220786" cy="1004887"/>
          </a:xfrm>
        </p:spPr>
        <p:txBody>
          <a:bodyPr lIns="71958" tIns="35979" rIns="7195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474177" y="1144595"/>
            <a:ext cx="1220787" cy="1004887"/>
          </a:xfrm>
        </p:spPr>
        <p:txBody>
          <a:bodyPr lIns="71958" tIns="35979" rIns="71958">
            <a:noAutofit/>
          </a:bodyPr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rgbClr val="35478B"/>
                </a:solidFill>
              </a:defRPr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rgbClr val="35478B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solidFill>
                  <a:srgbClr val="35478B"/>
                </a:solidFill>
              </a:defRPr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slide number and section tit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7075" y="4924434"/>
            <a:ext cx="269965" cy="111919"/>
          </a:xfrm>
        </p:spPr>
        <p:txBody>
          <a:bodyPr/>
          <a:lstStyle/>
          <a:p>
            <a:fld id="{4686B743-C385-3242-B692-F58A8ADDA9C5}" type="slidenum">
              <a:rPr lang="en-US" smtClean="0">
                <a:solidFill>
                  <a:srgbClr val="000066"/>
                </a:solidFill>
              </a:rPr>
              <a:pPr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25" name="citextline"/>
          <p:cNvCxnSpPr/>
          <p:nvPr userDrawn="1"/>
        </p:nvCxnSpPr>
        <p:spPr bwMode="auto">
          <a:xfrm>
            <a:off x="304801" y="4860010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02361" y="234562"/>
            <a:ext cx="7656204" cy="269267"/>
          </a:xfrm>
        </p:spPr>
        <p:txBody>
          <a:bodyPr/>
          <a:lstStyle>
            <a:lvl1pPr>
              <a:tabLst>
                <a:tab pos="2707833" algn="l"/>
              </a:tabLst>
              <a:defRPr/>
            </a:lvl1pPr>
          </a:lstStyle>
          <a:p>
            <a:r>
              <a:rPr lang="en-GB" dirty="0" smtClean="0"/>
              <a:t>Click to add title, tab to add subtitle in 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02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41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56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71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86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tags" Target="../tags/tag21.xml"/><Relationship Id="rId2" Type="http://schemas.openxmlformats.org/officeDocument/2006/relationships/slideLayout" Target="../slideLayouts/slideLayout101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58027"/>
            <a:ext cx="6750050" cy="59862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28731"/>
            <a:ext cx="6750050" cy="37369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9617"/>
            <a:ext cx="2133600" cy="1738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56DDCC-95C8-9F4E-9BE2-27ACBC6A0139}" type="datetime1">
              <a:rPr lang="en-GB" smtClean="0"/>
              <a:pPr/>
              <a:t>26/0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99617"/>
            <a:ext cx="4083050" cy="1738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5600" y="4899600"/>
            <a:ext cx="512798" cy="1738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686B743-C385-3242-B692-F58A8ADDA9C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7912384" y="290047"/>
            <a:ext cx="950978" cy="586271"/>
            <a:chOff x="0" y="384"/>
            <a:chExt cx="5760" cy="3551"/>
          </a:xfrm>
          <a:solidFill>
            <a:srgbClr val="CCCCCC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966" y="633"/>
              <a:ext cx="609" cy="595"/>
            </a:xfrm>
            <a:custGeom>
              <a:avLst/>
              <a:gdLst>
                <a:gd name="T0" fmla="*/ 71 w 88"/>
                <a:gd name="T1" fmla="*/ 0 h 86"/>
                <a:gd name="T2" fmla="*/ 60 w 88"/>
                <a:gd name="T3" fmla="*/ 8 h 86"/>
                <a:gd name="T4" fmla="*/ 72 w 88"/>
                <a:gd name="T5" fmla="*/ 36 h 86"/>
                <a:gd name="T6" fmla="*/ 37 w 88"/>
                <a:gd name="T7" fmla="*/ 72 h 86"/>
                <a:gd name="T8" fmla="*/ 9 w 88"/>
                <a:gd name="T9" fmla="*/ 59 h 86"/>
                <a:gd name="T10" fmla="*/ 5 w 88"/>
                <a:gd name="T11" fmla="*/ 63 h 86"/>
                <a:gd name="T12" fmla="*/ 0 w 88"/>
                <a:gd name="T13" fmla="*/ 71 h 86"/>
                <a:gd name="T14" fmla="*/ 37 w 88"/>
                <a:gd name="T15" fmla="*/ 86 h 86"/>
                <a:gd name="T16" fmla="*/ 88 w 88"/>
                <a:gd name="T17" fmla="*/ 36 h 86"/>
                <a:gd name="T18" fmla="*/ 71 w 88"/>
                <a:gd name="T1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6">
                  <a:moveTo>
                    <a:pt x="71" y="0"/>
                  </a:moveTo>
                  <a:cubicBezTo>
                    <a:pt x="67" y="2"/>
                    <a:pt x="63" y="5"/>
                    <a:pt x="60" y="8"/>
                  </a:cubicBezTo>
                  <a:cubicBezTo>
                    <a:pt x="68" y="15"/>
                    <a:pt x="72" y="25"/>
                    <a:pt x="72" y="36"/>
                  </a:cubicBezTo>
                  <a:cubicBezTo>
                    <a:pt x="72" y="56"/>
                    <a:pt x="58" y="72"/>
                    <a:pt x="37" y="72"/>
                  </a:cubicBezTo>
                  <a:cubicBezTo>
                    <a:pt x="25" y="72"/>
                    <a:pt x="15" y="67"/>
                    <a:pt x="9" y="59"/>
                  </a:cubicBezTo>
                  <a:cubicBezTo>
                    <a:pt x="8" y="60"/>
                    <a:pt x="6" y="62"/>
                    <a:pt x="5" y="63"/>
                  </a:cubicBezTo>
                  <a:cubicBezTo>
                    <a:pt x="3" y="66"/>
                    <a:pt x="2" y="68"/>
                    <a:pt x="0" y="71"/>
                  </a:cubicBezTo>
                  <a:cubicBezTo>
                    <a:pt x="9" y="80"/>
                    <a:pt x="22" y="86"/>
                    <a:pt x="37" y="86"/>
                  </a:cubicBezTo>
                  <a:cubicBezTo>
                    <a:pt x="65" y="86"/>
                    <a:pt x="88" y="64"/>
                    <a:pt x="88" y="36"/>
                  </a:cubicBezTo>
                  <a:cubicBezTo>
                    <a:pt x="88" y="22"/>
                    <a:pt x="81" y="9"/>
                    <a:pt x="7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1682" y="1491"/>
              <a:ext cx="263" cy="616"/>
            </a:xfrm>
            <a:custGeom>
              <a:avLst/>
              <a:gdLst>
                <a:gd name="T0" fmla="*/ 22 w 38"/>
                <a:gd name="T1" fmla="*/ 41 h 89"/>
                <a:gd name="T2" fmla="*/ 0 w 38"/>
                <a:gd name="T3" fmla="*/ 75 h 89"/>
                <a:gd name="T4" fmla="*/ 0 w 38"/>
                <a:gd name="T5" fmla="*/ 83 h 89"/>
                <a:gd name="T6" fmla="*/ 0 w 38"/>
                <a:gd name="T7" fmla="*/ 89 h 89"/>
                <a:gd name="T8" fmla="*/ 38 w 38"/>
                <a:gd name="T9" fmla="*/ 41 h 89"/>
                <a:gd name="T10" fmla="*/ 14 w 38"/>
                <a:gd name="T11" fmla="*/ 0 h 89"/>
                <a:gd name="T12" fmla="*/ 10 w 38"/>
                <a:gd name="T13" fmla="*/ 14 h 89"/>
                <a:gd name="T14" fmla="*/ 22 w 38"/>
                <a:gd name="T15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9">
                  <a:moveTo>
                    <a:pt x="22" y="41"/>
                  </a:moveTo>
                  <a:cubicBezTo>
                    <a:pt x="22" y="56"/>
                    <a:pt x="14" y="69"/>
                    <a:pt x="0" y="75"/>
                  </a:cubicBezTo>
                  <a:cubicBezTo>
                    <a:pt x="0" y="77"/>
                    <a:pt x="0" y="80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22" y="84"/>
                    <a:pt x="38" y="65"/>
                    <a:pt x="38" y="41"/>
                  </a:cubicBezTo>
                  <a:cubicBezTo>
                    <a:pt x="38" y="24"/>
                    <a:pt x="28" y="9"/>
                    <a:pt x="14" y="0"/>
                  </a:cubicBezTo>
                  <a:cubicBezTo>
                    <a:pt x="13" y="4"/>
                    <a:pt x="11" y="9"/>
                    <a:pt x="10" y="14"/>
                  </a:cubicBezTo>
                  <a:cubicBezTo>
                    <a:pt x="18" y="20"/>
                    <a:pt x="22" y="31"/>
                    <a:pt x="22" y="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710" y="2336"/>
              <a:ext cx="485" cy="664"/>
            </a:xfrm>
            <a:custGeom>
              <a:avLst/>
              <a:gdLst>
                <a:gd name="T0" fmla="*/ 19 w 70"/>
                <a:gd name="T1" fmla="*/ 14 h 96"/>
                <a:gd name="T2" fmla="*/ 55 w 70"/>
                <a:gd name="T3" fmla="*/ 49 h 96"/>
                <a:gd name="T4" fmla="*/ 29 w 70"/>
                <a:gd name="T5" fmla="*/ 84 h 96"/>
                <a:gd name="T6" fmla="*/ 37 w 70"/>
                <a:gd name="T7" fmla="*/ 96 h 96"/>
                <a:gd name="T8" fmla="*/ 70 w 70"/>
                <a:gd name="T9" fmla="*/ 49 h 96"/>
                <a:gd name="T10" fmla="*/ 19 w 70"/>
                <a:gd name="T11" fmla="*/ 0 h 96"/>
                <a:gd name="T12" fmla="*/ 0 w 70"/>
                <a:gd name="T13" fmla="*/ 4 h 96"/>
                <a:gd name="T14" fmla="*/ 3 w 70"/>
                <a:gd name="T15" fmla="*/ 17 h 96"/>
                <a:gd name="T16" fmla="*/ 19 w 70"/>
                <a:gd name="T17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96">
                  <a:moveTo>
                    <a:pt x="19" y="14"/>
                  </a:moveTo>
                  <a:cubicBezTo>
                    <a:pt x="42" y="14"/>
                    <a:pt x="55" y="30"/>
                    <a:pt x="55" y="49"/>
                  </a:cubicBezTo>
                  <a:cubicBezTo>
                    <a:pt x="55" y="66"/>
                    <a:pt x="45" y="80"/>
                    <a:pt x="29" y="84"/>
                  </a:cubicBezTo>
                  <a:cubicBezTo>
                    <a:pt x="31" y="88"/>
                    <a:pt x="34" y="92"/>
                    <a:pt x="37" y="96"/>
                  </a:cubicBezTo>
                  <a:cubicBezTo>
                    <a:pt x="56" y="89"/>
                    <a:pt x="70" y="71"/>
                    <a:pt x="70" y="49"/>
                  </a:cubicBezTo>
                  <a:cubicBezTo>
                    <a:pt x="70" y="22"/>
                    <a:pt x="47" y="0"/>
                    <a:pt x="19" y="0"/>
                  </a:cubicBezTo>
                  <a:cubicBezTo>
                    <a:pt x="12" y="0"/>
                    <a:pt x="6" y="1"/>
                    <a:pt x="0" y="4"/>
                  </a:cubicBezTo>
                  <a:cubicBezTo>
                    <a:pt x="0" y="8"/>
                    <a:pt x="1" y="13"/>
                    <a:pt x="3" y="17"/>
                  </a:cubicBezTo>
                  <a:cubicBezTo>
                    <a:pt x="7" y="15"/>
                    <a:pt x="13" y="14"/>
                    <a:pt x="19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3157" y="2350"/>
              <a:ext cx="512" cy="671"/>
            </a:xfrm>
            <a:custGeom>
              <a:avLst/>
              <a:gdLst>
                <a:gd name="T0" fmla="*/ 58 w 74"/>
                <a:gd name="T1" fmla="*/ 0 h 97"/>
                <a:gd name="T2" fmla="*/ 58 w 74"/>
                <a:gd name="T3" fmla="*/ 57 h 97"/>
                <a:gd name="T4" fmla="*/ 37 w 74"/>
                <a:gd name="T5" fmla="*/ 83 h 97"/>
                <a:gd name="T6" fmla="*/ 16 w 74"/>
                <a:gd name="T7" fmla="*/ 57 h 97"/>
                <a:gd name="T8" fmla="*/ 16 w 74"/>
                <a:gd name="T9" fmla="*/ 0 h 97"/>
                <a:gd name="T10" fmla="*/ 0 w 74"/>
                <a:gd name="T11" fmla="*/ 0 h 97"/>
                <a:gd name="T12" fmla="*/ 0 w 74"/>
                <a:gd name="T13" fmla="*/ 60 h 97"/>
                <a:gd name="T14" fmla="*/ 37 w 74"/>
                <a:gd name="T15" fmla="*/ 97 h 97"/>
                <a:gd name="T16" fmla="*/ 74 w 74"/>
                <a:gd name="T17" fmla="*/ 60 h 97"/>
                <a:gd name="T18" fmla="*/ 74 w 74"/>
                <a:gd name="T19" fmla="*/ 0 h 97"/>
                <a:gd name="T20" fmla="*/ 58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58" y="0"/>
                  </a:moveTo>
                  <a:cubicBezTo>
                    <a:pt x="58" y="57"/>
                    <a:pt x="58" y="57"/>
                    <a:pt x="58" y="57"/>
                  </a:cubicBezTo>
                  <a:cubicBezTo>
                    <a:pt x="58" y="71"/>
                    <a:pt x="54" y="83"/>
                    <a:pt x="37" y="83"/>
                  </a:cubicBezTo>
                  <a:cubicBezTo>
                    <a:pt x="20" y="83"/>
                    <a:pt x="16" y="71"/>
                    <a:pt x="16" y="5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81"/>
                    <a:pt x="13" y="97"/>
                    <a:pt x="37" y="97"/>
                  </a:cubicBezTo>
                  <a:cubicBezTo>
                    <a:pt x="61" y="97"/>
                    <a:pt x="74" y="81"/>
                    <a:pt x="74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3538" y="557"/>
              <a:ext cx="408" cy="658"/>
            </a:xfrm>
            <a:custGeom>
              <a:avLst/>
              <a:gdLst>
                <a:gd name="T0" fmla="*/ 110 w 408"/>
                <a:gd name="T1" fmla="*/ 561 h 658"/>
                <a:gd name="T2" fmla="*/ 408 w 408"/>
                <a:gd name="T3" fmla="*/ 561 h 658"/>
                <a:gd name="T4" fmla="*/ 408 w 408"/>
                <a:gd name="T5" fmla="*/ 658 h 658"/>
                <a:gd name="T6" fmla="*/ 0 w 408"/>
                <a:gd name="T7" fmla="*/ 658 h 658"/>
                <a:gd name="T8" fmla="*/ 0 w 408"/>
                <a:gd name="T9" fmla="*/ 0 h 658"/>
                <a:gd name="T10" fmla="*/ 110 w 408"/>
                <a:gd name="T11" fmla="*/ 0 h 658"/>
                <a:gd name="T12" fmla="*/ 110 w 408"/>
                <a:gd name="T13" fmla="*/ 5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658">
                  <a:moveTo>
                    <a:pt x="110" y="561"/>
                  </a:moveTo>
                  <a:lnTo>
                    <a:pt x="408" y="561"/>
                  </a:lnTo>
                  <a:lnTo>
                    <a:pt x="408" y="658"/>
                  </a:lnTo>
                  <a:lnTo>
                    <a:pt x="0" y="65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5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0" y="1450"/>
              <a:ext cx="381" cy="657"/>
            </a:xfrm>
            <a:custGeom>
              <a:avLst/>
              <a:gdLst>
                <a:gd name="T0" fmla="*/ 0 w 381"/>
                <a:gd name="T1" fmla="*/ 0 h 657"/>
                <a:gd name="T2" fmla="*/ 381 w 381"/>
                <a:gd name="T3" fmla="*/ 0 h 657"/>
                <a:gd name="T4" fmla="*/ 381 w 381"/>
                <a:gd name="T5" fmla="*/ 97 h 657"/>
                <a:gd name="T6" fmla="*/ 104 w 381"/>
                <a:gd name="T7" fmla="*/ 97 h 657"/>
                <a:gd name="T8" fmla="*/ 104 w 381"/>
                <a:gd name="T9" fmla="*/ 249 h 657"/>
                <a:gd name="T10" fmla="*/ 374 w 381"/>
                <a:gd name="T11" fmla="*/ 249 h 657"/>
                <a:gd name="T12" fmla="*/ 374 w 381"/>
                <a:gd name="T13" fmla="*/ 346 h 657"/>
                <a:gd name="T14" fmla="*/ 104 w 381"/>
                <a:gd name="T15" fmla="*/ 346 h 657"/>
                <a:gd name="T16" fmla="*/ 104 w 381"/>
                <a:gd name="T17" fmla="*/ 561 h 657"/>
                <a:gd name="T18" fmla="*/ 381 w 381"/>
                <a:gd name="T19" fmla="*/ 561 h 657"/>
                <a:gd name="T20" fmla="*/ 381 w 381"/>
                <a:gd name="T21" fmla="*/ 657 h 657"/>
                <a:gd name="T22" fmla="*/ 0 w 381"/>
                <a:gd name="T23" fmla="*/ 657 h 657"/>
                <a:gd name="T24" fmla="*/ 0 w 381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657">
                  <a:moveTo>
                    <a:pt x="0" y="0"/>
                  </a:moveTo>
                  <a:lnTo>
                    <a:pt x="381" y="0"/>
                  </a:lnTo>
                  <a:lnTo>
                    <a:pt x="381" y="97"/>
                  </a:lnTo>
                  <a:lnTo>
                    <a:pt x="104" y="97"/>
                  </a:lnTo>
                  <a:lnTo>
                    <a:pt x="104" y="249"/>
                  </a:lnTo>
                  <a:lnTo>
                    <a:pt x="374" y="249"/>
                  </a:lnTo>
                  <a:lnTo>
                    <a:pt x="374" y="346"/>
                  </a:lnTo>
                  <a:lnTo>
                    <a:pt x="104" y="346"/>
                  </a:lnTo>
                  <a:lnTo>
                    <a:pt x="104" y="561"/>
                  </a:lnTo>
                  <a:lnTo>
                    <a:pt x="381" y="561"/>
                  </a:lnTo>
                  <a:lnTo>
                    <a:pt x="381" y="657"/>
                  </a:lnTo>
                  <a:lnTo>
                    <a:pt x="0" y="657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2167" y="1415"/>
              <a:ext cx="561" cy="720"/>
            </a:xfrm>
            <a:custGeom>
              <a:avLst/>
              <a:gdLst>
                <a:gd name="T0" fmla="*/ 0 w 561"/>
                <a:gd name="T1" fmla="*/ 0 h 720"/>
                <a:gd name="T2" fmla="*/ 457 w 561"/>
                <a:gd name="T3" fmla="*/ 464 h 720"/>
                <a:gd name="T4" fmla="*/ 457 w 561"/>
                <a:gd name="T5" fmla="*/ 35 h 720"/>
                <a:gd name="T6" fmla="*/ 561 w 561"/>
                <a:gd name="T7" fmla="*/ 35 h 720"/>
                <a:gd name="T8" fmla="*/ 561 w 561"/>
                <a:gd name="T9" fmla="*/ 720 h 720"/>
                <a:gd name="T10" fmla="*/ 111 w 561"/>
                <a:gd name="T11" fmla="*/ 256 h 720"/>
                <a:gd name="T12" fmla="*/ 111 w 561"/>
                <a:gd name="T13" fmla="*/ 692 h 720"/>
                <a:gd name="T14" fmla="*/ 0 w 561"/>
                <a:gd name="T15" fmla="*/ 692 h 720"/>
                <a:gd name="T16" fmla="*/ 0 w 561"/>
                <a:gd name="T17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1" h="720">
                  <a:moveTo>
                    <a:pt x="0" y="0"/>
                  </a:moveTo>
                  <a:lnTo>
                    <a:pt x="457" y="464"/>
                  </a:lnTo>
                  <a:lnTo>
                    <a:pt x="457" y="35"/>
                  </a:lnTo>
                  <a:lnTo>
                    <a:pt x="561" y="35"/>
                  </a:lnTo>
                  <a:lnTo>
                    <a:pt x="561" y="720"/>
                  </a:lnTo>
                  <a:lnTo>
                    <a:pt x="111" y="256"/>
                  </a:lnTo>
                  <a:lnTo>
                    <a:pt x="111" y="692"/>
                  </a:lnTo>
                  <a:lnTo>
                    <a:pt x="0" y="69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4874" y="1450"/>
              <a:ext cx="111" cy="6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955" y="2350"/>
              <a:ext cx="346" cy="657"/>
            </a:xfrm>
            <a:custGeom>
              <a:avLst/>
              <a:gdLst>
                <a:gd name="T0" fmla="*/ 104 w 346"/>
                <a:gd name="T1" fmla="*/ 90 h 657"/>
                <a:gd name="T2" fmla="*/ 104 w 346"/>
                <a:gd name="T3" fmla="*/ 249 h 657"/>
                <a:gd name="T4" fmla="*/ 340 w 346"/>
                <a:gd name="T5" fmla="*/ 249 h 657"/>
                <a:gd name="T6" fmla="*/ 340 w 346"/>
                <a:gd name="T7" fmla="*/ 346 h 657"/>
                <a:gd name="T8" fmla="*/ 104 w 346"/>
                <a:gd name="T9" fmla="*/ 346 h 657"/>
                <a:gd name="T10" fmla="*/ 104 w 346"/>
                <a:gd name="T11" fmla="*/ 657 h 657"/>
                <a:gd name="T12" fmla="*/ 0 w 346"/>
                <a:gd name="T13" fmla="*/ 657 h 657"/>
                <a:gd name="T14" fmla="*/ 0 w 346"/>
                <a:gd name="T15" fmla="*/ 0 h 657"/>
                <a:gd name="T16" fmla="*/ 346 w 346"/>
                <a:gd name="T17" fmla="*/ 0 h 657"/>
                <a:gd name="T18" fmla="*/ 346 w 346"/>
                <a:gd name="T19" fmla="*/ 90 h 657"/>
                <a:gd name="T20" fmla="*/ 104 w 346"/>
                <a:gd name="T21" fmla="*/ 9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657">
                  <a:moveTo>
                    <a:pt x="104" y="90"/>
                  </a:moveTo>
                  <a:lnTo>
                    <a:pt x="104" y="249"/>
                  </a:lnTo>
                  <a:lnTo>
                    <a:pt x="340" y="249"/>
                  </a:lnTo>
                  <a:lnTo>
                    <a:pt x="340" y="346"/>
                  </a:lnTo>
                  <a:lnTo>
                    <a:pt x="104" y="346"/>
                  </a:lnTo>
                  <a:lnTo>
                    <a:pt x="104" y="657"/>
                  </a:lnTo>
                  <a:lnTo>
                    <a:pt x="0" y="657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90"/>
                  </a:lnTo>
                  <a:lnTo>
                    <a:pt x="104" y="9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879" y="536"/>
              <a:ext cx="831" cy="706"/>
            </a:xfrm>
            <a:custGeom>
              <a:avLst/>
              <a:gdLst>
                <a:gd name="T0" fmla="*/ 616 w 831"/>
                <a:gd name="T1" fmla="*/ 429 h 706"/>
                <a:gd name="T2" fmla="*/ 616 w 831"/>
                <a:gd name="T3" fmla="*/ 429 h 706"/>
                <a:gd name="T4" fmla="*/ 727 w 831"/>
                <a:gd name="T5" fmla="*/ 14 h 706"/>
                <a:gd name="T6" fmla="*/ 831 w 831"/>
                <a:gd name="T7" fmla="*/ 14 h 706"/>
                <a:gd name="T8" fmla="*/ 644 w 831"/>
                <a:gd name="T9" fmla="*/ 706 h 706"/>
                <a:gd name="T10" fmla="*/ 416 w 831"/>
                <a:gd name="T11" fmla="*/ 208 h 706"/>
                <a:gd name="T12" fmla="*/ 180 w 831"/>
                <a:gd name="T13" fmla="*/ 706 h 706"/>
                <a:gd name="T14" fmla="*/ 0 w 831"/>
                <a:gd name="T15" fmla="*/ 14 h 706"/>
                <a:gd name="T16" fmla="*/ 104 w 831"/>
                <a:gd name="T17" fmla="*/ 14 h 706"/>
                <a:gd name="T18" fmla="*/ 208 w 831"/>
                <a:gd name="T19" fmla="*/ 429 h 706"/>
                <a:gd name="T20" fmla="*/ 215 w 831"/>
                <a:gd name="T21" fmla="*/ 429 h 706"/>
                <a:gd name="T22" fmla="*/ 416 w 831"/>
                <a:gd name="T23" fmla="*/ 0 h 706"/>
                <a:gd name="T24" fmla="*/ 616 w 831"/>
                <a:gd name="T25" fmla="*/ 42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706">
                  <a:moveTo>
                    <a:pt x="616" y="429"/>
                  </a:moveTo>
                  <a:lnTo>
                    <a:pt x="616" y="429"/>
                  </a:lnTo>
                  <a:lnTo>
                    <a:pt x="727" y="14"/>
                  </a:lnTo>
                  <a:lnTo>
                    <a:pt x="831" y="14"/>
                  </a:lnTo>
                  <a:lnTo>
                    <a:pt x="644" y="706"/>
                  </a:lnTo>
                  <a:lnTo>
                    <a:pt x="416" y="208"/>
                  </a:lnTo>
                  <a:lnTo>
                    <a:pt x="180" y="706"/>
                  </a:lnTo>
                  <a:lnTo>
                    <a:pt x="0" y="14"/>
                  </a:lnTo>
                  <a:lnTo>
                    <a:pt x="104" y="14"/>
                  </a:lnTo>
                  <a:lnTo>
                    <a:pt x="208" y="429"/>
                  </a:lnTo>
                  <a:lnTo>
                    <a:pt x="215" y="429"/>
                  </a:lnTo>
                  <a:lnTo>
                    <a:pt x="416" y="0"/>
                  </a:lnTo>
                  <a:lnTo>
                    <a:pt x="616" y="42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3801" y="1422"/>
              <a:ext cx="837" cy="699"/>
            </a:xfrm>
            <a:custGeom>
              <a:avLst/>
              <a:gdLst>
                <a:gd name="T0" fmla="*/ 214 w 837"/>
                <a:gd name="T1" fmla="*/ 277 h 699"/>
                <a:gd name="T2" fmla="*/ 214 w 837"/>
                <a:gd name="T3" fmla="*/ 277 h 699"/>
                <a:gd name="T4" fmla="*/ 110 w 837"/>
                <a:gd name="T5" fmla="*/ 685 h 699"/>
                <a:gd name="T6" fmla="*/ 0 w 837"/>
                <a:gd name="T7" fmla="*/ 685 h 699"/>
                <a:gd name="T8" fmla="*/ 187 w 837"/>
                <a:gd name="T9" fmla="*/ 0 h 699"/>
                <a:gd name="T10" fmla="*/ 422 w 837"/>
                <a:gd name="T11" fmla="*/ 499 h 699"/>
                <a:gd name="T12" fmla="*/ 650 w 837"/>
                <a:gd name="T13" fmla="*/ 0 h 699"/>
                <a:gd name="T14" fmla="*/ 837 w 837"/>
                <a:gd name="T15" fmla="*/ 685 h 699"/>
                <a:gd name="T16" fmla="*/ 727 w 837"/>
                <a:gd name="T17" fmla="*/ 685 h 699"/>
                <a:gd name="T18" fmla="*/ 623 w 837"/>
                <a:gd name="T19" fmla="*/ 277 h 699"/>
                <a:gd name="T20" fmla="*/ 623 w 837"/>
                <a:gd name="T21" fmla="*/ 277 h 699"/>
                <a:gd name="T22" fmla="*/ 422 w 837"/>
                <a:gd name="T23" fmla="*/ 699 h 699"/>
                <a:gd name="T24" fmla="*/ 214 w 837"/>
                <a:gd name="T25" fmla="*/ 277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7" h="699">
                  <a:moveTo>
                    <a:pt x="214" y="277"/>
                  </a:moveTo>
                  <a:lnTo>
                    <a:pt x="214" y="277"/>
                  </a:lnTo>
                  <a:lnTo>
                    <a:pt x="110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22" y="499"/>
                  </a:lnTo>
                  <a:lnTo>
                    <a:pt x="650" y="0"/>
                  </a:lnTo>
                  <a:lnTo>
                    <a:pt x="837" y="685"/>
                  </a:lnTo>
                  <a:lnTo>
                    <a:pt x="727" y="685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422" y="699"/>
                  </a:lnTo>
                  <a:lnTo>
                    <a:pt x="214" y="27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3863" y="2322"/>
              <a:ext cx="831" cy="699"/>
            </a:xfrm>
            <a:custGeom>
              <a:avLst/>
              <a:gdLst>
                <a:gd name="T0" fmla="*/ 215 w 831"/>
                <a:gd name="T1" fmla="*/ 270 h 699"/>
                <a:gd name="T2" fmla="*/ 215 w 831"/>
                <a:gd name="T3" fmla="*/ 270 h 699"/>
                <a:gd name="T4" fmla="*/ 104 w 831"/>
                <a:gd name="T5" fmla="*/ 685 h 699"/>
                <a:gd name="T6" fmla="*/ 0 w 831"/>
                <a:gd name="T7" fmla="*/ 685 h 699"/>
                <a:gd name="T8" fmla="*/ 187 w 831"/>
                <a:gd name="T9" fmla="*/ 0 h 699"/>
                <a:gd name="T10" fmla="*/ 415 w 831"/>
                <a:gd name="T11" fmla="*/ 492 h 699"/>
                <a:gd name="T12" fmla="*/ 651 w 831"/>
                <a:gd name="T13" fmla="*/ 0 h 699"/>
                <a:gd name="T14" fmla="*/ 831 w 831"/>
                <a:gd name="T15" fmla="*/ 685 h 699"/>
                <a:gd name="T16" fmla="*/ 727 w 831"/>
                <a:gd name="T17" fmla="*/ 685 h 699"/>
                <a:gd name="T18" fmla="*/ 623 w 831"/>
                <a:gd name="T19" fmla="*/ 270 h 699"/>
                <a:gd name="T20" fmla="*/ 616 w 831"/>
                <a:gd name="T21" fmla="*/ 270 h 699"/>
                <a:gd name="T22" fmla="*/ 415 w 831"/>
                <a:gd name="T23" fmla="*/ 699 h 699"/>
                <a:gd name="T24" fmla="*/ 215 w 831"/>
                <a:gd name="T25" fmla="*/ 27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1" h="699">
                  <a:moveTo>
                    <a:pt x="215" y="270"/>
                  </a:moveTo>
                  <a:lnTo>
                    <a:pt x="215" y="270"/>
                  </a:lnTo>
                  <a:lnTo>
                    <a:pt x="104" y="685"/>
                  </a:lnTo>
                  <a:lnTo>
                    <a:pt x="0" y="685"/>
                  </a:lnTo>
                  <a:lnTo>
                    <a:pt x="187" y="0"/>
                  </a:lnTo>
                  <a:lnTo>
                    <a:pt x="415" y="492"/>
                  </a:lnTo>
                  <a:lnTo>
                    <a:pt x="651" y="0"/>
                  </a:lnTo>
                  <a:lnTo>
                    <a:pt x="831" y="685"/>
                  </a:lnTo>
                  <a:lnTo>
                    <a:pt x="727" y="685"/>
                  </a:lnTo>
                  <a:lnTo>
                    <a:pt x="623" y="270"/>
                  </a:lnTo>
                  <a:lnTo>
                    <a:pt x="616" y="270"/>
                  </a:lnTo>
                  <a:lnTo>
                    <a:pt x="415" y="699"/>
                  </a:lnTo>
                  <a:lnTo>
                    <a:pt x="215" y="27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4"/>
            <p:cNvSpPr>
              <a:spLocks noEditPoints="1"/>
            </p:cNvSpPr>
            <p:nvPr/>
          </p:nvSpPr>
          <p:spPr bwMode="auto">
            <a:xfrm>
              <a:off x="2430" y="2350"/>
              <a:ext cx="505" cy="657"/>
            </a:xfrm>
            <a:custGeom>
              <a:avLst/>
              <a:gdLst>
                <a:gd name="T0" fmla="*/ 26 w 73"/>
                <a:gd name="T1" fmla="*/ 0 h 95"/>
                <a:gd name="T2" fmla="*/ 53 w 73"/>
                <a:gd name="T3" fmla="*/ 4 h 95"/>
                <a:gd name="T4" fmla="*/ 65 w 73"/>
                <a:gd name="T5" fmla="*/ 27 h 95"/>
                <a:gd name="T6" fmla="*/ 42 w 73"/>
                <a:gd name="T7" fmla="*/ 53 h 95"/>
                <a:gd name="T8" fmla="*/ 73 w 73"/>
                <a:gd name="T9" fmla="*/ 95 h 95"/>
                <a:gd name="T10" fmla="*/ 55 w 73"/>
                <a:gd name="T11" fmla="*/ 95 h 95"/>
                <a:gd name="T12" fmla="*/ 26 w 73"/>
                <a:gd name="T13" fmla="*/ 55 h 95"/>
                <a:gd name="T14" fmla="*/ 16 w 73"/>
                <a:gd name="T15" fmla="*/ 55 h 95"/>
                <a:gd name="T16" fmla="*/ 16 w 73"/>
                <a:gd name="T17" fmla="*/ 95 h 95"/>
                <a:gd name="T18" fmla="*/ 0 w 73"/>
                <a:gd name="T19" fmla="*/ 95 h 95"/>
                <a:gd name="T20" fmla="*/ 0 w 73"/>
                <a:gd name="T21" fmla="*/ 0 h 95"/>
                <a:gd name="T22" fmla="*/ 26 w 73"/>
                <a:gd name="T23" fmla="*/ 0 h 95"/>
                <a:gd name="T24" fmla="*/ 16 w 73"/>
                <a:gd name="T25" fmla="*/ 42 h 95"/>
                <a:gd name="T26" fmla="*/ 23 w 73"/>
                <a:gd name="T27" fmla="*/ 42 h 95"/>
                <a:gd name="T28" fmla="*/ 50 w 73"/>
                <a:gd name="T29" fmla="*/ 27 h 95"/>
                <a:gd name="T30" fmla="*/ 22 w 73"/>
                <a:gd name="T31" fmla="*/ 13 h 95"/>
                <a:gd name="T32" fmla="*/ 16 w 73"/>
                <a:gd name="T33" fmla="*/ 13 h 95"/>
                <a:gd name="T34" fmla="*/ 16 w 73"/>
                <a:gd name="T3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95">
                  <a:moveTo>
                    <a:pt x="26" y="0"/>
                  </a:moveTo>
                  <a:cubicBezTo>
                    <a:pt x="35" y="0"/>
                    <a:pt x="45" y="0"/>
                    <a:pt x="53" y="4"/>
                  </a:cubicBezTo>
                  <a:cubicBezTo>
                    <a:pt x="61" y="9"/>
                    <a:pt x="65" y="18"/>
                    <a:pt x="65" y="27"/>
                  </a:cubicBezTo>
                  <a:cubicBezTo>
                    <a:pt x="65" y="40"/>
                    <a:pt x="56" y="52"/>
                    <a:pt x="42" y="53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16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35" y="42"/>
                    <a:pt x="50" y="42"/>
                    <a:pt x="50" y="27"/>
                  </a:cubicBezTo>
                  <a:cubicBezTo>
                    <a:pt x="50" y="12"/>
                    <a:pt x="34" y="13"/>
                    <a:pt x="22" y="13"/>
                  </a:cubicBezTo>
                  <a:cubicBezTo>
                    <a:pt x="16" y="13"/>
                    <a:pt x="16" y="13"/>
                    <a:pt x="16" y="13"/>
                  </a:cubicBezTo>
                  <a:lnTo>
                    <a:pt x="1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auto">
            <a:xfrm>
              <a:off x="2804" y="550"/>
              <a:ext cx="498" cy="665"/>
            </a:xfrm>
            <a:custGeom>
              <a:avLst/>
              <a:gdLst>
                <a:gd name="T0" fmla="*/ 25 w 72"/>
                <a:gd name="T1" fmla="*/ 0 h 96"/>
                <a:gd name="T2" fmla="*/ 52 w 72"/>
                <a:gd name="T3" fmla="*/ 5 h 96"/>
                <a:gd name="T4" fmla="*/ 65 w 72"/>
                <a:gd name="T5" fmla="*/ 28 h 96"/>
                <a:gd name="T6" fmla="*/ 41 w 72"/>
                <a:gd name="T7" fmla="*/ 54 h 96"/>
                <a:gd name="T8" fmla="*/ 72 w 72"/>
                <a:gd name="T9" fmla="*/ 96 h 96"/>
                <a:gd name="T10" fmla="*/ 54 w 72"/>
                <a:gd name="T11" fmla="*/ 96 h 96"/>
                <a:gd name="T12" fmla="*/ 26 w 72"/>
                <a:gd name="T13" fmla="*/ 55 h 96"/>
                <a:gd name="T14" fmla="*/ 15 w 72"/>
                <a:gd name="T15" fmla="*/ 55 h 96"/>
                <a:gd name="T16" fmla="*/ 15 w 72"/>
                <a:gd name="T17" fmla="*/ 96 h 96"/>
                <a:gd name="T18" fmla="*/ 0 w 72"/>
                <a:gd name="T19" fmla="*/ 96 h 96"/>
                <a:gd name="T20" fmla="*/ 0 w 72"/>
                <a:gd name="T21" fmla="*/ 0 h 96"/>
                <a:gd name="T22" fmla="*/ 25 w 72"/>
                <a:gd name="T23" fmla="*/ 0 h 96"/>
                <a:gd name="T24" fmla="*/ 15 w 72"/>
                <a:gd name="T25" fmla="*/ 43 h 96"/>
                <a:gd name="T26" fmla="*/ 22 w 72"/>
                <a:gd name="T27" fmla="*/ 43 h 96"/>
                <a:gd name="T28" fmla="*/ 50 w 72"/>
                <a:gd name="T29" fmla="*/ 28 h 96"/>
                <a:gd name="T30" fmla="*/ 22 w 72"/>
                <a:gd name="T31" fmla="*/ 14 h 96"/>
                <a:gd name="T32" fmla="*/ 15 w 72"/>
                <a:gd name="T33" fmla="*/ 14 h 96"/>
                <a:gd name="T34" fmla="*/ 15 w 72"/>
                <a:gd name="T35" fmla="*/ 4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6">
                  <a:moveTo>
                    <a:pt x="25" y="0"/>
                  </a:moveTo>
                  <a:cubicBezTo>
                    <a:pt x="34" y="0"/>
                    <a:pt x="44" y="1"/>
                    <a:pt x="52" y="5"/>
                  </a:cubicBezTo>
                  <a:cubicBezTo>
                    <a:pt x="60" y="10"/>
                    <a:pt x="65" y="19"/>
                    <a:pt x="65" y="28"/>
                  </a:cubicBezTo>
                  <a:cubicBezTo>
                    <a:pt x="65" y="41"/>
                    <a:pt x="55" y="53"/>
                    <a:pt x="41" y="54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15" y="43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35" y="43"/>
                    <a:pt x="50" y="43"/>
                    <a:pt x="50" y="28"/>
                  </a:cubicBezTo>
                  <a:cubicBezTo>
                    <a:pt x="50" y="13"/>
                    <a:pt x="34" y="14"/>
                    <a:pt x="22" y="14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1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6"/>
            <p:cNvSpPr>
              <a:spLocks noEditPoints="1"/>
            </p:cNvSpPr>
            <p:nvPr/>
          </p:nvSpPr>
          <p:spPr bwMode="auto">
            <a:xfrm>
              <a:off x="4140" y="557"/>
              <a:ext cx="554" cy="658"/>
            </a:xfrm>
            <a:custGeom>
              <a:avLst/>
              <a:gdLst>
                <a:gd name="T0" fmla="*/ 15 w 80"/>
                <a:gd name="T1" fmla="*/ 81 h 95"/>
                <a:gd name="T2" fmla="*/ 24 w 80"/>
                <a:gd name="T3" fmla="*/ 81 h 95"/>
                <a:gd name="T4" fmla="*/ 65 w 80"/>
                <a:gd name="T5" fmla="*/ 47 h 95"/>
                <a:gd name="T6" fmla="*/ 24 w 80"/>
                <a:gd name="T7" fmla="*/ 13 h 95"/>
                <a:gd name="T8" fmla="*/ 15 w 80"/>
                <a:gd name="T9" fmla="*/ 13 h 95"/>
                <a:gd name="T10" fmla="*/ 15 w 80"/>
                <a:gd name="T11" fmla="*/ 81 h 95"/>
                <a:gd name="T12" fmla="*/ 0 w 80"/>
                <a:gd name="T13" fmla="*/ 0 h 95"/>
                <a:gd name="T14" fmla="*/ 26 w 80"/>
                <a:gd name="T15" fmla="*/ 0 h 95"/>
                <a:gd name="T16" fmla="*/ 80 w 80"/>
                <a:gd name="T17" fmla="*/ 47 h 95"/>
                <a:gd name="T18" fmla="*/ 25 w 80"/>
                <a:gd name="T19" fmla="*/ 95 h 95"/>
                <a:gd name="T20" fmla="*/ 0 w 80"/>
                <a:gd name="T21" fmla="*/ 95 h 95"/>
                <a:gd name="T22" fmla="*/ 0 w 80"/>
                <a:gd name="T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5">
                  <a:moveTo>
                    <a:pt x="15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45" y="81"/>
                    <a:pt x="65" y="74"/>
                    <a:pt x="65" y="47"/>
                  </a:cubicBezTo>
                  <a:cubicBezTo>
                    <a:pt x="65" y="19"/>
                    <a:pt x="45" y="13"/>
                    <a:pt x="2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81"/>
                    <a:pt x="15" y="81"/>
                    <a:pt x="15" y="81"/>
                  </a:cubicBezTo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56" y="0"/>
                    <a:pt x="80" y="14"/>
                    <a:pt x="80" y="47"/>
                  </a:cubicBezTo>
                  <a:cubicBezTo>
                    <a:pt x="80" y="80"/>
                    <a:pt x="56" y="95"/>
                    <a:pt x="25" y="95"/>
                  </a:cubicBezTo>
                  <a:cubicBezTo>
                    <a:pt x="0" y="95"/>
                    <a:pt x="0" y="95"/>
                    <a:pt x="0" y="95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auto">
            <a:xfrm>
              <a:off x="5227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9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4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588" y="1436"/>
              <a:ext cx="533" cy="685"/>
            </a:xfrm>
            <a:custGeom>
              <a:avLst/>
              <a:gdLst>
                <a:gd name="T0" fmla="*/ 69 w 77"/>
                <a:gd name="T1" fmla="*/ 81 h 99"/>
                <a:gd name="T2" fmla="*/ 51 w 77"/>
                <a:gd name="T3" fmla="*/ 85 h 99"/>
                <a:gd name="T4" fmla="*/ 16 w 77"/>
                <a:gd name="T5" fmla="*/ 49 h 99"/>
                <a:gd name="T6" fmla="*/ 51 w 77"/>
                <a:gd name="T7" fmla="*/ 14 h 99"/>
                <a:gd name="T8" fmla="*/ 69 w 77"/>
                <a:gd name="T9" fmla="*/ 18 h 99"/>
                <a:gd name="T10" fmla="*/ 77 w 77"/>
                <a:gd name="T11" fmla="*/ 6 h 99"/>
                <a:gd name="T12" fmla="*/ 51 w 77"/>
                <a:gd name="T13" fmla="*/ 0 h 99"/>
                <a:gd name="T14" fmla="*/ 0 w 77"/>
                <a:gd name="T15" fmla="*/ 49 h 99"/>
                <a:gd name="T16" fmla="*/ 51 w 77"/>
                <a:gd name="T17" fmla="*/ 99 h 99"/>
                <a:gd name="T18" fmla="*/ 77 w 77"/>
                <a:gd name="T19" fmla="*/ 93 h 99"/>
                <a:gd name="T20" fmla="*/ 69 w 77"/>
                <a:gd name="T21" fmla="*/ 8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99">
                  <a:moveTo>
                    <a:pt x="69" y="81"/>
                  </a:moveTo>
                  <a:cubicBezTo>
                    <a:pt x="64" y="84"/>
                    <a:pt x="58" y="85"/>
                    <a:pt x="51" y="85"/>
                  </a:cubicBezTo>
                  <a:cubicBezTo>
                    <a:pt x="30" y="85"/>
                    <a:pt x="16" y="69"/>
                    <a:pt x="16" y="49"/>
                  </a:cubicBezTo>
                  <a:cubicBezTo>
                    <a:pt x="16" y="31"/>
                    <a:pt x="28" y="14"/>
                    <a:pt x="51" y="14"/>
                  </a:cubicBezTo>
                  <a:cubicBezTo>
                    <a:pt x="58" y="14"/>
                    <a:pt x="64" y="15"/>
                    <a:pt x="69" y="1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1" y="0"/>
                    <a:pt x="51" y="0"/>
                  </a:cubicBezTo>
                  <a:cubicBezTo>
                    <a:pt x="23" y="0"/>
                    <a:pt x="0" y="22"/>
                    <a:pt x="0" y="49"/>
                  </a:cubicBezTo>
                  <a:cubicBezTo>
                    <a:pt x="0" y="78"/>
                    <a:pt x="23" y="99"/>
                    <a:pt x="51" y="99"/>
                  </a:cubicBezTo>
                  <a:cubicBezTo>
                    <a:pt x="61" y="99"/>
                    <a:pt x="69" y="97"/>
                    <a:pt x="77" y="93"/>
                  </a:cubicBezTo>
                  <a:cubicBezTo>
                    <a:pt x="69" y="81"/>
                    <a:pt x="69" y="81"/>
                    <a:pt x="69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9"/>
            <p:cNvSpPr>
              <a:spLocks noEditPoints="1"/>
            </p:cNvSpPr>
            <p:nvPr/>
          </p:nvSpPr>
          <p:spPr bwMode="auto">
            <a:xfrm>
              <a:off x="1239" y="384"/>
              <a:ext cx="3441" cy="3551"/>
            </a:xfrm>
            <a:custGeom>
              <a:avLst/>
              <a:gdLst>
                <a:gd name="T0" fmla="*/ 491 w 497"/>
                <a:gd name="T1" fmla="*/ 443 h 513"/>
                <a:gd name="T2" fmla="*/ 491 w 497"/>
                <a:gd name="T3" fmla="*/ 443 h 513"/>
                <a:gd name="T4" fmla="*/ 487 w 497"/>
                <a:gd name="T5" fmla="*/ 439 h 513"/>
                <a:gd name="T6" fmla="*/ 320 w 497"/>
                <a:gd name="T7" fmla="*/ 498 h 513"/>
                <a:gd name="T8" fmla="*/ 135 w 497"/>
                <a:gd name="T9" fmla="*/ 423 h 513"/>
                <a:gd name="T10" fmla="*/ 59 w 497"/>
                <a:gd name="T11" fmla="*/ 243 h 513"/>
                <a:gd name="T12" fmla="*/ 106 w 497"/>
                <a:gd name="T13" fmla="*/ 97 h 513"/>
                <a:gd name="T14" fmla="*/ 227 w 497"/>
                <a:gd name="T15" fmla="*/ 4 h 513"/>
                <a:gd name="T16" fmla="*/ 225 w 497"/>
                <a:gd name="T17" fmla="*/ 0 h 513"/>
                <a:gd name="T18" fmla="*/ 167 w 497"/>
                <a:gd name="T19" fmla="*/ 29 h 513"/>
                <a:gd name="T20" fmla="*/ 142 w 497"/>
                <a:gd name="T21" fmla="*/ 23 h 513"/>
                <a:gd name="T22" fmla="*/ 91 w 497"/>
                <a:gd name="T23" fmla="*/ 72 h 513"/>
                <a:gd name="T24" fmla="*/ 98 w 497"/>
                <a:gd name="T25" fmla="*/ 98 h 513"/>
                <a:gd name="T26" fmla="*/ 69 w 497"/>
                <a:gd name="T27" fmla="*/ 155 h 513"/>
                <a:gd name="T28" fmla="*/ 51 w 497"/>
                <a:gd name="T29" fmla="*/ 152 h 513"/>
                <a:gd name="T30" fmla="*/ 0 w 497"/>
                <a:gd name="T31" fmla="*/ 201 h 513"/>
                <a:gd name="T32" fmla="*/ 51 w 497"/>
                <a:gd name="T33" fmla="*/ 251 h 513"/>
                <a:gd name="T34" fmla="*/ 54 w 497"/>
                <a:gd name="T35" fmla="*/ 251 h 513"/>
                <a:gd name="T36" fmla="*/ 58 w 497"/>
                <a:gd name="T37" fmla="*/ 291 h 513"/>
                <a:gd name="T38" fmla="*/ 36 w 497"/>
                <a:gd name="T39" fmla="*/ 331 h 513"/>
                <a:gd name="T40" fmla="*/ 87 w 497"/>
                <a:gd name="T41" fmla="*/ 381 h 513"/>
                <a:gd name="T42" fmla="*/ 94 w 497"/>
                <a:gd name="T43" fmla="*/ 380 h 513"/>
                <a:gd name="T44" fmla="*/ 132 w 497"/>
                <a:gd name="T45" fmla="*/ 427 h 513"/>
                <a:gd name="T46" fmla="*/ 146 w 497"/>
                <a:gd name="T47" fmla="*/ 440 h 513"/>
                <a:gd name="T48" fmla="*/ 140 w 497"/>
                <a:gd name="T49" fmla="*/ 448 h 513"/>
                <a:gd name="T50" fmla="*/ 320 w 497"/>
                <a:gd name="T51" fmla="*/ 513 h 513"/>
                <a:gd name="T52" fmla="*/ 497 w 497"/>
                <a:gd name="T53" fmla="*/ 450 h 513"/>
                <a:gd name="T54" fmla="*/ 491 w 497"/>
                <a:gd name="T55" fmla="*/ 443 h 513"/>
                <a:gd name="T56" fmla="*/ 142 w 497"/>
                <a:gd name="T57" fmla="*/ 37 h 513"/>
                <a:gd name="T58" fmla="*/ 155 w 497"/>
                <a:gd name="T59" fmla="*/ 39 h 513"/>
                <a:gd name="T60" fmla="*/ 108 w 497"/>
                <a:gd name="T61" fmla="*/ 85 h 513"/>
                <a:gd name="T62" fmla="*/ 106 w 497"/>
                <a:gd name="T63" fmla="*/ 72 h 513"/>
                <a:gd name="T64" fmla="*/ 142 w 497"/>
                <a:gd name="T65" fmla="*/ 37 h 513"/>
                <a:gd name="T66" fmla="*/ 15 w 497"/>
                <a:gd name="T67" fmla="*/ 201 h 513"/>
                <a:gd name="T68" fmla="*/ 51 w 497"/>
                <a:gd name="T69" fmla="*/ 166 h 513"/>
                <a:gd name="T70" fmla="*/ 65 w 497"/>
                <a:gd name="T71" fmla="*/ 168 h 513"/>
                <a:gd name="T72" fmla="*/ 54 w 497"/>
                <a:gd name="T73" fmla="*/ 237 h 513"/>
                <a:gd name="T74" fmla="*/ 51 w 497"/>
                <a:gd name="T75" fmla="*/ 237 h 513"/>
                <a:gd name="T76" fmla="*/ 15 w 497"/>
                <a:gd name="T77" fmla="*/ 201 h 513"/>
                <a:gd name="T78" fmla="*/ 52 w 497"/>
                <a:gd name="T79" fmla="*/ 331 h 513"/>
                <a:gd name="T80" fmla="*/ 61 w 497"/>
                <a:gd name="T81" fmla="*/ 306 h 513"/>
                <a:gd name="T82" fmla="*/ 86 w 497"/>
                <a:gd name="T83" fmla="*/ 367 h 513"/>
                <a:gd name="T84" fmla="*/ 52 w 497"/>
                <a:gd name="T85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7" h="513">
                  <a:moveTo>
                    <a:pt x="491" y="443"/>
                  </a:moveTo>
                  <a:cubicBezTo>
                    <a:pt x="491" y="443"/>
                    <a:pt x="491" y="443"/>
                    <a:pt x="491" y="443"/>
                  </a:cubicBezTo>
                  <a:cubicBezTo>
                    <a:pt x="487" y="439"/>
                    <a:pt x="487" y="439"/>
                    <a:pt x="487" y="439"/>
                  </a:cubicBezTo>
                  <a:cubicBezTo>
                    <a:pt x="440" y="477"/>
                    <a:pt x="381" y="498"/>
                    <a:pt x="320" y="498"/>
                  </a:cubicBezTo>
                  <a:cubicBezTo>
                    <a:pt x="250" y="498"/>
                    <a:pt x="185" y="471"/>
                    <a:pt x="135" y="423"/>
                  </a:cubicBezTo>
                  <a:cubicBezTo>
                    <a:pt x="86" y="375"/>
                    <a:pt x="59" y="311"/>
                    <a:pt x="59" y="243"/>
                  </a:cubicBezTo>
                  <a:cubicBezTo>
                    <a:pt x="59" y="190"/>
                    <a:pt x="75" y="140"/>
                    <a:pt x="106" y="97"/>
                  </a:cubicBezTo>
                  <a:cubicBezTo>
                    <a:pt x="136" y="54"/>
                    <a:pt x="178" y="23"/>
                    <a:pt x="227" y="4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4" y="7"/>
                    <a:pt x="185" y="17"/>
                    <a:pt x="167" y="29"/>
                  </a:cubicBezTo>
                  <a:cubicBezTo>
                    <a:pt x="160" y="25"/>
                    <a:pt x="151" y="23"/>
                    <a:pt x="142" y="23"/>
                  </a:cubicBezTo>
                  <a:cubicBezTo>
                    <a:pt x="114" y="23"/>
                    <a:pt x="91" y="45"/>
                    <a:pt x="91" y="72"/>
                  </a:cubicBezTo>
                  <a:cubicBezTo>
                    <a:pt x="91" y="82"/>
                    <a:pt x="93" y="91"/>
                    <a:pt x="98" y="98"/>
                  </a:cubicBezTo>
                  <a:cubicBezTo>
                    <a:pt x="86" y="116"/>
                    <a:pt x="76" y="135"/>
                    <a:pt x="69" y="155"/>
                  </a:cubicBezTo>
                  <a:cubicBezTo>
                    <a:pt x="63" y="153"/>
                    <a:pt x="57" y="152"/>
                    <a:pt x="51" y="152"/>
                  </a:cubicBezTo>
                  <a:cubicBezTo>
                    <a:pt x="23" y="152"/>
                    <a:pt x="0" y="174"/>
                    <a:pt x="0" y="201"/>
                  </a:cubicBezTo>
                  <a:cubicBezTo>
                    <a:pt x="0" y="230"/>
                    <a:pt x="23" y="251"/>
                    <a:pt x="51" y="251"/>
                  </a:cubicBezTo>
                  <a:cubicBezTo>
                    <a:pt x="52" y="251"/>
                    <a:pt x="53" y="251"/>
                    <a:pt x="54" y="251"/>
                  </a:cubicBezTo>
                  <a:cubicBezTo>
                    <a:pt x="54" y="264"/>
                    <a:pt x="56" y="278"/>
                    <a:pt x="58" y="291"/>
                  </a:cubicBezTo>
                  <a:cubicBezTo>
                    <a:pt x="45" y="300"/>
                    <a:pt x="36" y="315"/>
                    <a:pt x="36" y="331"/>
                  </a:cubicBezTo>
                  <a:cubicBezTo>
                    <a:pt x="36" y="360"/>
                    <a:pt x="59" y="381"/>
                    <a:pt x="87" y="381"/>
                  </a:cubicBezTo>
                  <a:cubicBezTo>
                    <a:pt x="90" y="381"/>
                    <a:pt x="92" y="381"/>
                    <a:pt x="94" y="380"/>
                  </a:cubicBezTo>
                  <a:cubicBezTo>
                    <a:pt x="104" y="397"/>
                    <a:pt x="117" y="413"/>
                    <a:pt x="132" y="427"/>
                  </a:cubicBezTo>
                  <a:cubicBezTo>
                    <a:pt x="136" y="431"/>
                    <a:pt x="141" y="436"/>
                    <a:pt x="146" y="440"/>
                  </a:cubicBezTo>
                  <a:cubicBezTo>
                    <a:pt x="140" y="448"/>
                    <a:pt x="140" y="448"/>
                    <a:pt x="140" y="448"/>
                  </a:cubicBezTo>
                  <a:cubicBezTo>
                    <a:pt x="190" y="490"/>
                    <a:pt x="254" y="513"/>
                    <a:pt x="320" y="513"/>
                  </a:cubicBezTo>
                  <a:cubicBezTo>
                    <a:pt x="385" y="513"/>
                    <a:pt x="448" y="491"/>
                    <a:pt x="497" y="450"/>
                  </a:cubicBezTo>
                  <a:lnTo>
                    <a:pt x="491" y="443"/>
                  </a:lnTo>
                  <a:close/>
                  <a:moveTo>
                    <a:pt x="142" y="37"/>
                  </a:moveTo>
                  <a:cubicBezTo>
                    <a:pt x="147" y="37"/>
                    <a:pt x="151" y="37"/>
                    <a:pt x="155" y="39"/>
                  </a:cubicBezTo>
                  <a:cubicBezTo>
                    <a:pt x="137" y="52"/>
                    <a:pt x="122" y="67"/>
                    <a:pt x="108" y="85"/>
                  </a:cubicBezTo>
                  <a:cubicBezTo>
                    <a:pt x="107" y="81"/>
                    <a:pt x="106" y="77"/>
                    <a:pt x="106" y="72"/>
                  </a:cubicBezTo>
                  <a:cubicBezTo>
                    <a:pt x="106" y="53"/>
                    <a:pt x="119" y="37"/>
                    <a:pt x="142" y="37"/>
                  </a:cubicBezTo>
                  <a:close/>
                  <a:moveTo>
                    <a:pt x="15" y="201"/>
                  </a:moveTo>
                  <a:cubicBezTo>
                    <a:pt x="15" y="183"/>
                    <a:pt x="28" y="166"/>
                    <a:pt x="51" y="166"/>
                  </a:cubicBezTo>
                  <a:cubicBezTo>
                    <a:pt x="56" y="166"/>
                    <a:pt x="61" y="167"/>
                    <a:pt x="65" y="168"/>
                  </a:cubicBezTo>
                  <a:cubicBezTo>
                    <a:pt x="58" y="190"/>
                    <a:pt x="54" y="213"/>
                    <a:pt x="54" y="237"/>
                  </a:cubicBezTo>
                  <a:cubicBezTo>
                    <a:pt x="53" y="237"/>
                    <a:pt x="52" y="237"/>
                    <a:pt x="51" y="237"/>
                  </a:cubicBezTo>
                  <a:cubicBezTo>
                    <a:pt x="30" y="237"/>
                    <a:pt x="15" y="221"/>
                    <a:pt x="15" y="201"/>
                  </a:cubicBezTo>
                  <a:close/>
                  <a:moveTo>
                    <a:pt x="52" y="331"/>
                  </a:moveTo>
                  <a:cubicBezTo>
                    <a:pt x="52" y="322"/>
                    <a:pt x="55" y="313"/>
                    <a:pt x="61" y="306"/>
                  </a:cubicBezTo>
                  <a:cubicBezTo>
                    <a:pt x="67" y="327"/>
                    <a:pt x="75" y="348"/>
                    <a:pt x="86" y="367"/>
                  </a:cubicBezTo>
                  <a:cubicBezTo>
                    <a:pt x="66" y="366"/>
                    <a:pt x="52" y="350"/>
                    <a:pt x="52" y="3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0"/>
            <p:cNvSpPr>
              <a:spLocks noEditPoints="1"/>
            </p:cNvSpPr>
            <p:nvPr/>
          </p:nvSpPr>
          <p:spPr bwMode="auto">
            <a:xfrm>
              <a:off x="2956" y="1436"/>
              <a:ext cx="706" cy="685"/>
            </a:xfrm>
            <a:custGeom>
              <a:avLst/>
              <a:gdLst>
                <a:gd name="T0" fmla="*/ 87 w 102"/>
                <a:gd name="T1" fmla="*/ 49 h 99"/>
                <a:gd name="T2" fmla="*/ 51 w 102"/>
                <a:gd name="T3" fmla="*/ 14 h 99"/>
                <a:gd name="T4" fmla="*/ 16 w 102"/>
                <a:gd name="T5" fmla="*/ 49 h 99"/>
                <a:gd name="T6" fmla="*/ 51 w 102"/>
                <a:gd name="T7" fmla="*/ 85 h 99"/>
                <a:gd name="T8" fmla="*/ 87 w 102"/>
                <a:gd name="T9" fmla="*/ 49 h 99"/>
                <a:gd name="T10" fmla="*/ 102 w 102"/>
                <a:gd name="T11" fmla="*/ 49 h 99"/>
                <a:gd name="T12" fmla="*/ 51 w 102"/>
                <a:gd name="T13" fmla="*/ 99 h 99"/>
                <a:gd name="T14" fmla="*/ 0 w 102"/>
                <a:gd name="T15" fmla="*/ 49 h 99"/>
                <a:gd name="T16" fmla="*/ 51 w 102"/>
                <a:gd name="T17" fmla="*/ 0 h 99"/>
                <a:gd name="T18" fmla="*/ 102 w 102"/>
                <a:gd name="T19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99">
                  <a:moveTo>
                    <a:pt x="87" y="49"/>
                  </a:moveTo>
                  <a:cubicBezTo>
                    <a:pt x="87" y="31"/>
                    <a:pt x="74" y="14"/>
                    <a:pt x="51" y="14"/>
                  </a:cubicBezTo>
                  <a:cubicBezTo>
                    <a:pt x="28" y="14"/>
                    <a:pt x="16" y="31"/>
                    <a:pt x="16" y="49"/>
                  </a:cubicBezTo>
                  <a:cubicBezTo>
                    <a:pt x="16" y="69"/>
                    <a:pt x="30" y="85"/>
                    <a:pt x="51" y="85"/>
                  </a:cubicBezTo>
                  <a:cubicBezTo>
                    <a:pt x="72" y="85"/>
                    <a:pt x="87" y="69"/>
                    <a:pt x="87" y="49"/>
                  </a:cubicBezTo>
                  <a:moveTo>
                    <a:pt x="102" y="49"/>
                  </a:moveTo>
                  <a:cubicBezTo>
                    <a:pt x="102" y="78"/>
                    <a:pt x="79" y="99"/>
                    <a:pt x="51" y="99"/>
                  </a:cubicBezTo>
                  <a:cubicBezTo>
                    <a:pt x="23" y="99"/>
                    <a:pt x="0" y="78"/>
                    <a:pt x="0" y="49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0215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706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707" r:id="rId20"/>
    <p:sldLayoutId id="2147483708" r:id="rId21"/>
    <p:sldLayoutId id="2147483709" r:id="rId22"/>
    <p:sldLayoutId id="2147483710" r:id="rId23"/>
    <p:sldLayoutId id="2147483711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516" rtl="0" eaLnBrk="1" latinLnBrk="0" hangingPunct="1">
        <a:spcBef>
          <a:spcPct val="0"/>
        </a:spcBef>
        <a:buNone/>
        <a:tabLst>
          <a:tab pos="1402832" algn="l"/>
          <a:tab pos="2705806" algn="l"/>
        </a:tabLst>
        <a:defRPr sz="1300" kern="0" spc="-3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6516" rtl="0" eaLnBrk="1" latinLnBrk="0" hangingPunct="1">
        <a:lnSpc>
          <a:spcPct val="110000"/>
        </a:lnSpc>
        <a:spcBef>
          <a:spcPts val="0"/>
        </a:spcBef>
        <a:buFont typeface="Arial"/>
        <a:buNone/>
        <a:defRPr sz="1100" kern="0" spc="-30">
          <a:solidFill>
            <a:srgbClr val="000000"/>
          </a:solidFill>
          <a:latin typeface="+mn-lt"/>
          <a:ea typeface="+mn-ea"/>
          <a:cs typeface="+mn-cs"/>
        </a:defRPr>
      </a:lvl1pPr>
      <a:lvl2pPr marL="0" indent="0" algn="l" defTabSz="456516" rtl="0" eaLnBrk="1" latinLnBrk="0" hangingPunct="1">
        <a:lnSpc>
          <a:spcPct val="110000"/>
        </a:lnSpc>
        <a:spcBef>
          <a:spcPts val="800"/>
        </a:spcBef>
        <a:buFont typeface="Arial"/>
        <a:buNone/>
        <a:defRPr sz="1100" b="1" kern="0" spc="-30">
          <a:solidFill>
            <a:srgbClr val="000000"/>
          </a:solidFill>
          <a:latin typeface="+mn-lt"/>
          <a:ea typeface="+mn-ea"/>
          <a:cs typeface="+mn-cs"/>
        </a:defRPr>
      </a:lvl2pPr>
      <a:lvl3pPr marL="171180" indent="-171180" algn="l" defTabSz="456516" rtl="0" eaLnBrk="1" latinLnBrk="0" hangingPunct="1">
        <a:lnSpc>
          <a:spcPct val="110000"/>
        </a:lnSpc>
        <a:spcBef>
          <a:spcPts val="0"/>
        </a:spcBef>
        <a:buFont typeface="Lucida Grande"/>
        <a:buChar char="●"/>
        <a:defRPr sz="1100" b="0" kern="0" spc="-3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456516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/>
        <a:buNone/>
        <a:defRPr sz="3400" kern="0" spc="-3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456516" rtl="0" eaLnBrk="1" latinLnBrk="0" hangingPunct="1">
        <a:spcBef>
          <a:spcPts val="0"/>
        </a:spcBef>
        <a:buFont typeface="Arial"/>
        <a:buNone/>
        <a:defRPr sz="1100" kern="0" spc="-30">
          <a:solidFill>
            <a:srgbClr val="000000"/>
          </a:solidFill>
          <a:latin typeface="+mn-lt"/>
          <a:ea typeface="+mn-ea"/>
          <a:cs typeface="+mn-cs"/>
        </a:defRPr>
      </a:lvl5pPr>
      <a:lvl6pPr marL="2510823" indent="-228258" algn="l" defTabSz="45651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345" indent="-228258" algn="l" defTabSz="45651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868" indent="-228258" algn="l" defTabSz="45651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370" indent="-228258" algn="l" defTabSz="45651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6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32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7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51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73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93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595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16" algn="l" defTabSz="456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361" y="234574"/>
            <a:ext cx="7656204" cy="2692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2864" y="1072755"/>
            <a:ext cx="8536336" cy="3719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56" y="229500"/>
            <a:ext cx="531426" cy="34290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34983" y="4031075"/>
            <a:ext cx="61555" cy="76142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defTabSz="684569"/>
            <a:r>
              <a:rPr lang="en-US" sz="400" dirty="0" smtClean="0">
                <a:solidFill>
                  <a:srgbClr val="000066"/>
                </a:solidFill>
              </a:rPr>
              <a:t>© Zurich Insurance Company Ltd</a:t>
            </a:r>
            <a:endParaRPr lang="en-US" sz="400" dirty="0">
              <a:solidFill>
                <a:srgbClr val="000066"/>
              </a:solidFill>
            </a:endParaRPr>
          </a:p>
        </p:txBody>
      </p:sp>
      <p:cxnSp>
        <p:nvCxnSpPr>
          <p:cNvPr id="7" name="citextline"/>
          <p:cNvCxnSpPr/>
          <p:nvPr/>
        </p:nvCxnSpPr>
        <p:spPr bwMode="auto">
          <a:xfrm>
            <a:off x="304801" y="4860022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7075" y="4924446"/>
            <a:ext cx="269965" cy="1119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latin typeface="Frutiger 55 Roman" pitchFamily="34" charset="0"/>
              </a:defRPr>
            </a:lvl1pPr>
          </a:lstStyle>
          <a:p>
            <a:pPr defTabSz="684569"/>
            <a:fld id="{2F5B0B8F-E14C-4F70-8AB9-5AF296774661}" type="slidenum">
              <a:rPr lang="en-US" smtClean="0">
                <a:solidFill>
                  <a:srgbClr val="000066"/>
                </a:solidFill>
              </a:rPr>
              <a:pPr defTabSz="684569"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569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455254" y="4924801"/>
            <a:ext cx="1080000" cy="1134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569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16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28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456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68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6913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478" indent="-19847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099" indent="-20442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3738" indent="-19847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3415" indent="-19847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18530" indent="-21392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08688" indent="-21392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6pPr>
      <a:lvl7pPr marL="1408361" indent="-21392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7pPr>
      <a:lvl8pPr marL="1617525" indent="-21392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17192" indent="-21392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284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569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852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136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415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3706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5982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8274" algn="l" defTabSz="684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361" y="234572"/>
            <a:ext cx="7656204" cy="2692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2864" y="1072755"/>
            <a:ext cx="8536336" cy="3719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56" y="229500"/>
            <a:ext cx="531426" cy="34290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34983" y="4031075"/>
            <a:ext cx="61555" cy="76142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defTabSz="684683"/>
            <a:r>
              <a:rPr lang="en-US" sz="400" dirty="0" smtClean="0">
                <a:solidFill>
                  <a:srgbClr val="000066"/>
                </a:solidFill>
              </a:rPr>
              <a:t>© Zurich Insurance Company Ltd</a:t>
            </a:r>
            <a:endParaRPr lang="en-US" sz="400" dirty="0">
              <a:solidFill>
                <a:srgbClr val="000066"/>
              </a:solidFill>
            </a:endParaRPr>
          </a:p>
        </p:txBody>
      </p:sp>
      <p:cxnSp>
        <p:nvCxnSpPr>
          <p:cNvPr id="7" name="citextline"/>
          <p:cNvCxnSpPr/>
          <p:nvPr/>
        </p:nvCxnSpPr>
        <p:spPr bwMode="auto">
          <a:xfrm>
            <a:off x="304801" y="4860020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7075" y="4924444"/>
            <a:ext cx="269965" cy="1119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latin typeface="Frutiger 55 Roman" pitchFamily="34" charset="0"/>
              </a:defRPr>
            </a:lvl1pPr>
          </a:lstStyle>
          <a:p>
            <a:pPr defTabSz="684683"/>
            <a:fld id="{2F5B0B8F-E14C-4F70-8AB9-5AF296774661}" type="slidenum">
              <a:rPr lang="en-US" smtClean="0">
                <a:solidFill>
                  <a:srgbClr val="000066"/>
                </a:solidFill>
              </a:rPr>
              <a:pPr defTabSz="684683"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683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455254" y="4924801"/>
            <a:ext cx="1080000" cy="1134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68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5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34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468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702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6936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511" indent="-198511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165" indent="-20445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3840" indent="-198511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3549" indent="-198511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18700" indent="-21396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08889" indent="-21396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6pPr>
      <a:lvl7pPr marL="1408595" indent="-21396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7pPr>
      <a:lvl8pPr marL="1617795" indent="-21396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17496" indent="-21396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341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683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023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364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701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048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6382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8730" algn="l" defTabSz="68468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361" y="234570"/>
            <a:ext cx="7656204" cy="2692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2864" y="1072755"/>
            <a:ext cx="8536336" cy="3719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56" y="229500"/>
            <a:ext cx="531426" cy="34290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34983" y="4031075"/>
            <a:ext cx="61555" cy="76142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defTabSz="684797"/>
            <a:r>
              <a:rPr lang="en-US" sz="400" dirty="0" smtClean="0">
                <a:solidFill>
                  <a:srgbClr val="000066"/>
                </a:solidFill>
              </a:rPr>
              <a:t>© Zurich Insurance Company Ltd</a:t>
            </a:r>
            <a:endParaRPr lang="en-US" sz="400" dirty="0">
              <a:solidFill>
                <a:srgbClr val="000066"/>
              </a:solidFill>
            </a:endParaRPr>
          </a:p>
        </p:txBody>
      </p:sp>
      <p:cxnSp>
        <p:nvCxnSpPr>
          <p:cNvPr id="7" name="citextline"/>
          <p:cNvCxnSpPr/>
          <p:nvPr/>
        </p:nvCxnSpPr>
        <p:spPr bwMode="auto">
          <a:xfrm>
            <a:off x="304801" y="4860018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7075" y="4924442"/>
            <a:ext cx="269965" cy="1119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latin typeface="Frutiger 55 Roman" pitchFamily="34" charset="0"/>
              </a:defRPr>
            </a:lvl1pPr>
          </a:lstStyle>
          <a:p>
            <a:pPr defTabSz="684797"/>
            <a:fld id="{2F5B0B8F-E14C-4F70-8AB9-5AF296774661}" type="slidenum">
              <a:rPr lang="en-US" smtClean="0">
                <a:solidFill>
                  <a:srgbClr val="000066"/>
                </a:solidFill>
              </a:rPr>
              <a:pPr defTabSz="684797"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797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455254" y="4924801"/>
            <a:ext cx="1080000" cy="1134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797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018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39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479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71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6959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544" indent="-19854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231" indent="-20448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3942" indent="-19854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3683" indent="-19854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18870" indent="-21399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09090" indent="-21399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6pPr>
      <a:lvl7pPr marL="1408829" indent="-21399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7pPr>
      <a:lvl8pPr marL="1618065" indent="-21399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17799" indent="-21399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398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797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194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592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87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390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6782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186" algn="l" defTabSz="6847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361" y="234567"/>
            <a:ext cx="7656204" cy="2692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2864" y="1072755"/>
            <a:ext cx="8536336" cy="3719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56" y="229500"/>
            <a:ext cx="531426" cy="34290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34983" y="4031075"/>
            <a:ext cx="61555" cy="76142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defTabSz="684968"/>
            <a:r>
              <a:rPr lang="en-US" sz="400" dirty="0" smtClean="0">
                <a:solidFill>
                  <a:srgbClr val="000066"/>
                </a:solidFill>
              </a:rPr>
              <a:t>© Zurich Insurance Company Ltd</a:t>
            </a:r>
            <a:endParaRPr lang="en-US" sz="400" dirty="0">
              <a:solidFill>
                <a:srgbClr val="000066"/>
              </a:solidFill>
            </a:endParaRPr>
          </a:p>
        </p:txBody>
      </p:sp>
      <p:cxnSp>
        <p:nvCxnSpPr>
          <p:cNvPr id="7" name="citextline"/>
          <p:cNvCxnSpPr/>
          <p:nvPr/>
        </p:nvCxnSpPr>
        <p:spPr bwMode="auto">
          <a:xfrm>
            <a:off x="304801" y="4860015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7075" y="4924439"/>
            <a:ext cx="269965" cy="1119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latin typeface="Frutiger 55 Roman" pitchFamily="34" charset="0"/>
              </a:defRPr>
            </a:lvl1pPr>
          </a:lstStyle>
          <a:p>
            <a:pPr defTabSz="684968"/>
            <a:fld id="{2F5B0B8F-E14C-4F70-8AB9-5AF296774661}" type="slidenum">
              <a:rPr lang="en-US" smtClean="0">
                <a:solidFill>
                  <a:srgbClr val="000066"/>
                </a:solidFill>
              </a:rPr>
              <a:pPr defTabSz="684968"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968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455254" y="4924801"/>
            <a:ext cx="1080000" cy="1134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4968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34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48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49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74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699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594" indent="-19859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330" indent="-204539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4095" indent="-19859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3884" indent="-19859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19125" indent="-21405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09392" indent="-21405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6pPr>
      <a:lvl7pPr marL="1409180" indent="-21405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7pPr>
      <a:lvl8pPr marL="1618470" indent="-21405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18253" indent="-21405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84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968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451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934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416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903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382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870" algn="l" defTabSz="68496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361" y="234562"/>
            <a:ext cx="7656204" cy="2692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2864" y="1072755"/>
            <a:ext cx="8536336" cy="3719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56" y="229500"/>
            <a:ext cx="531426" cy="34290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34983" y="4031075"/>
            <a:ext cx="61555" cy="76142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defTabSz="685253"/>
            <a:r>
              <a:rPr lang="en-US" sz="400" dirty="0" smtClean="0">
                <a:solidFill>
                  <a:srgbClr val="000066"/>
                </a:solidFill>
              </a:rPr>
              <a:t>© Zurich Insurance Company Ltd</a:t>
            </a:r>
            <a:endParaRPr lang="en-US" sz="400" dirty="0">
              <a:solidFill>
                <a:srgbClr val="000066"/>
              </a:solidFill>
            </a:endParaRPr>
          </a:p>
        </p:txBody>
      </p:sp>
      <p:cxnSp>
        <p:nvCxnSpPr>
          <p:cNvPr id="7" name="citextline"/>
          <p:cNvCxnSpPr/>
          <p:nvPr/>
        </p:nvCxnSpPr>
        <p:spPr bwMode="auto">
          <a:xfrm>
            <a:off x="304801" y="4860010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7075" y="4924434"/>
            <a:ext cx="269965" cy="1119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latin typeface="Frutiger 55 Roman" pitchFamily="34" charset="0"/>
              </a:defRPr>
            </a:lvl1pPr>
          </a:lstStyle>
          <a:p>
            <a:pPr defTabSz="685253"/>
            <a:fld id="{2F5B0B8F-E14C-4F70-8AB9-5AF296774661}" type="slidenum">
              <a:rPr lang="en-US" smtClean="0">
                <a:solidFill>
                  <a:srgbClr val="000066"/>
                </a:solidFill>
              </a:rPr>
              <a:pPr defTabSz="685253"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5253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455254" y="4924801"/>
            <a:ext cx="1080000" cy="1134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525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76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6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52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78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705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676" indent="-19867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495" indent="-204624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4350" indent="-19867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4219" indent="-19867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19550" indent="-21414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09897" indent="-21414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6pPr>
      <a:lvl7pPr marL="1409765" indent="-21414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7pPr>
      <a:lvl8pPr marL="1619145" indent="-21414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19011" indent="-214140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26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253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878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504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129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758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380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010" algn="l" defTabSz="6852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361" y="234556"/>
            <a:ext cx="7656204" cy="2692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2864" y="1072755"/>
            <a:ext cx="8536336" cy="3719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56" y="229500"/>
            <a:ext cx="531426" cy="34290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34983" y="4031075"/>
            <a:ext cx="61555" cy="76142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defTabSz="685595"/>
            <a:r>
              <a:rPr lang="en-US" sz="400" dirty="0" smtClean="0">
                <a:solidFill>
                  <a:srgbClr val="000066"/>
                </a:solidFill>
              </a:rPr>
              <a:t>© Zurich Insurance Company Ltd</a:t>
            </a:r>
            <a:endParaRPr lang="en-US" sz="400" dirty="0">
              <a:solidFill>
                <a:srgbClr val="000066"/>
              </a:solidFill>
            </a:endParaRPr>
          </a:p>
        </p:txBody>
      </p:sp>
      <p:cxnSp>
        <p:nvCxnSpPr>
          <p:cNvPr id="7" name="citextline"/>
          <p:cNvCxnSpPr/>
          <p:nvPr/>
        </p:nvCxnSpPr>
        <p:spPr bwMode="auto">
          <a:xfrm>
            <a:off x="304801" y="4860004"/>
            <a:ext cx="8534439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7075" y="4924428"/>
            <a:ext cx="269965" cy="1119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latin typeface="Frutiger 55 Roman" pitchFamily="34" charset="0"/>
              </a:defRPr>
            </a:lvl1pPr>
          </a:lstStyle>
          <a:p>
            <a:pPr defTabSz="685595"/>
            <a:fld id="{2F5B0B8F-E14C-4F70-8AB9-5AF296774661}" type="slidenum">
              <a:rPr lang="en-US" smtClean="0">
                <a:solidFill>
                  <a:srgbClr val="000066"/>
                </a:solidFill>
              </a:rPr>
              <a:pPr defTabSz="685595"/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2688" y="4924801"/>
            <a:ext cx="5669262" cy="11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5595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455254" y="4924801"/>
            <a:ext cx="1080000" cy="1134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000066"/>
                </a:solidFill>
                <a:latin typeface="Frutiger 55 Roman"/>
              </a:defRPr>
            </a:lvl1pPr>
          </a:lstStyle>
          <a:p>
            <a:pPr defTabSz="68559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008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79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55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839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711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775" indent="-198775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693" indent="-204726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4656" indent="-198775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4621" indent="-198775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20060" indent="-21424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10503" indent="-21424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6pPr>
      <a:lvl7pPr marL="1410467" indent="-21424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00" baseline="0">
          <a:solidFill>
            <a:schemeClr val="tx1"/>
          </a:solidFill>
          <a:latin typeface="+mj-lt"/>
        </a:defRPr>
      </a:lvl7pPr>
      <a:lvl8pPr marL="1619955" indent="-21424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19920" indent="-21424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1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8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5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4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8" algn="l" defTabSz="68559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37.png"/><Relationship Id="rId4" Type="http://schemas.openxmlformats.org/officeDocument/2006/relationships/image" Target="../media/image24.png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27.png"/><Relationship Id="rId9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4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://clients.stefaner.eu/wef-grr-2016/risk-explorer.html#trends" TargetMode="External"/><Relationship Id="rId3" Type="http://schemas.openxmlformats.org/officeDocument/2006/relationships/hyperlink" Target="http://clients.stefaner.eu/wef-grr-2016/eos-map.html" TargetMode="External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clients.stefaner.eu/wef-grr-2016/risk-explorer.html#landscape" TargetMode="External"/><Relationship Id="rId5" Type="http://schemas.openxmlformats.org/officeDocument/2006/relationships/hyperlink" Target="http://wef.ch/risks2016" TargetMode="External"/><Relationship Id="rId4" Type="http://schemas.openxmlformats.org/officeDocument/2006/relationships/image" Target="../media/image47.png"/><Relationship Id="rId9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jp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8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7.pn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PowerPoint_Slide1.sldx"/><Relationship Id="rId3" Type="http://schemas.openxmlformats.org/officeDocument/2006/relationships/tags" Target="../tags/tag26.xml"/><Relationship Id="rId7" Type="http://schemas.openxmlformats.org/officeDocument/2006/relationships/image" Target="../media/image3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3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7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png"/><Relationship Id="rId5" Type="http://schemas.openxmlformats.org/officeDocument/2006/relationships/image" Target="../media/image24.png"/><Relationship Id="rId10" Type="http://schemas.openxmlformats.org/officeDocument/2006/relationships/image" Target="../media/image36.png"/><Relationship Id="rId4" Type="http://schemas.openxmlformats.org/officeDocument/2006/relationships/image" Target="../media/image34.pn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en-US" sz="3200" dirty="0">
                <a:solidFill>
                  <a:srgbClr val="000066"/>
                </a:solidFill>
              </a:rPr>
              <a:t>The Global Risks Report 2016</a:t>
            </a:r>
            <a:endParaRPr lang="en-US" dirty="0" smtClean="0">
              <a:solidFill>
                <a:srgbClr val="35478B"/>
              </a:solidFill>
            </a:endParaRPr>
          </a:p>
          <a:p>
            <a:pPr lvl="1"/>
            <a:r>
              <a:rPr lang="en-US" dirty="0" smtClean="0">
                <a:solidFill>
                  <a:srgbClr val="000066"/>
                </a:solidFill>
              </a:rPr>
              <a:t>Caroline Galvan</a:t>
            </a:r>
          </a:p>
          <a:p>
            <a:pPr lvl="1"/>
            <a:r>
              <a:rPr lang="en-US" dirty="0" smtClean="0">
                <a:solidFill>
                  <a:srgbClr val="000066"/>
                </a:solidFill>
              </a:rPr>
              <a:t>Luxembourg</a:t>
            </a:r>
            <a:r>
              <a:rPr lang="en-US" dirty="0" smtClean="0">
                <a:solidFill>
                  <a:srgbClr val="000066"/>
                </a:solidFill>
              </a:rPr>
              <a:t>, 27.04.2016</a:t>
            </a:r>
            <a:endParaRPr lang="en-US" dirty="0">
              <a:solidFill>
                <a:srgbClr val="000066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151364" y="2575460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151364" y="3993743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031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17" y="258027"/>
            <a:ext cx="7593107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r>
              <a:rPr lang="en-US" sz="900" dirty="0">
                <a:solidFill>
                  <a:srgbClr val="000066"/>
                </a:solidFill>
              </a:rPr>
              <a:t/>
            </a:r>
            <a:br>
              <a:rPr lang="en-US" sz="900" dirty="0">
                <a:solidFill>
                  <a:srgbClr val="000066"/>
                </a:solidFill>
              </a:rPr>
            </a:br>
            <a:r>
              <a:rPr lang="en-US" sz="2000" b="1" dirty="0">
                <a:solidFill>
                  <a:srgbClr val="000066"/>
                </a:solidFill>
              </a:rPr>
              <a:t>Humanity on the Move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589361" y="4735773"/>
            <a:ext cx="675564" cy="379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9" b="20796"/>
          <a:stretch/>
        </p:blipFill>
        <p:spPr>
          <a:xfrm>
            <a:off x="430306" y="1044948"/>
            <a:ext cx="4377313" cy="4074300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430306" y="1044948"/>
            <a:ext cx="1550894" cy="1787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86" t="82771" r="5127" b="4506"/>
          <a:stretch/>
        </p:blipFill>
        <p:spPr>
          <a:xfrm>
            <a:off x="58522" y="4600275"/>
            <a:ext cx="667620" cy="51465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4778126" y="3272288"/>
            <a:ext cx="4365874" cy="1323439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lvl="1" algn="ctr"/>
            <a:r>
              <a:rPr lang="en-GB" sz="1600" dirty="0">
                <a:solidFill>
                  <a:srgbClr val="000066"/>
                </a:solidFill>
              </a:rPr>
              <a:t>There is an urgent need to address the </a:t>
            </a:r>
            <a:r>
              <a:rPr lang="en-GB" sz="1600" b="1" dirty="0">
                <a:solidFill>
                  <a:srgbClr val="000066"/>
                </a:solidFill>
              </a:rPr>
              <a:t>global refugee crisis</a:t>
            </a:r>
            <a:r>
              <a:rPr lang="en-GB" sz="1600" dirty="0">
                <a:solidFill>
                  <a:srgbClr val="000066"/>
                </a:solidFill>
              </a:rPr>
              <a:t>, adding emphasis to policies that can build resilience in addition to responding to the immediate crisis.</a:t>
            </a:r>
          </a:p>
        </p:txBody>
      </p:sp>
      <p:pic>
        <p:nvPicPr>
          <p:cNvPr id="41" name="Picture 2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876" y="3064811"/>
            <a:ext cx="157263" cy="14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635" y="3072050"/>
            <a:ext cx="157183" cy="14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2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849" y="2759967"/>
            <a:ext cx="145986" cy="14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4787" y="3598413"/>
            <a:ext cx="157530" cy="14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17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0" t="1" r="3960" b="3169"/>
          <a:stretch/>
        </p:blipFill>
        <p:spPr bwMode="auto">
          <a:xfrm>
            <a:off x="2783395" y="3589811"/>
            <a:ext cx="143359" cy="14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1970617" y="894068"/>
            <a:ext cx="3822722" cy="3255383"/>
            <a:chOff x="1876425" y="-282534"/>
            <a:chExt cx="3822722" cy="3255383"/>
          </a:xfrm>
        </p:grpSpPr>
        <p:cxnSp>
          <p:nvCxnSpPr>
            <p:cNvPr id="16" name="Straight Connector 15"/>
            <p:cNvCxnSpPr/>
            <p:nvPr/>
          </p:nvCxnSpPr>
          <p:spPr>
            <a:xfrm flipV="1">
              <a:off x="3276600" y="-282534"/>
              <a:ext cx="2422547" cy="1730335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1876425" y="1447801"/>
              <a:ext cx="1400175" cy="1512086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8" name="Straight Connector 17"/>
            <p:cNvCxnSpPr/>
            <p:nvPr/>
          </p:nvCxnSpPr>
          <p:spPr>
            <a:xfrm flipV="1">
              <a:off x="3276599" y="2039466"/>
              <a:ext cx="2422548" cy="933383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5793357" y="894050"/>
            <a:ext cx="2671045" cy="2322000"/>
            <a:chOff x="5233544" y="302385"/>
            <a:chExt cx="2671045" cy="2322000"/>
          </a:xfrm>
        </p:grpSpPr>
        <p:pic>
          <p:nvPicPr>
            <p:cNvPr id="3074" name="Picture 2" descr="S:\CSI\2. GLOBAL COMPETITIVENESS NETWORK\Projects\Global Risk Reports\6. Presentations\2. Events and presentations - GRR 2016\2. KES 12 January 2016\Screen Shot 2016-01-10 at 16.40.46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3544" y="302385"/>
              <a:ext cx="2671045" cy="232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1210" y="1366944"/>
              <a:ext cx="39315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2299" y="1347599"/>
              <a:ext cx="39295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5515" y="954315"/>
              <a:ext cx="364965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815" y="1961213"/>
              <a:ext cx="393825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17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0" t="1" r="3960" b="3169"/>
            <a:stretch/>
          </p:blipFill>
          <p:spPr bwMode="auto">
            <a:xfrm>
              <a:off x="6407886" y="1964025"/>
              <a:ext cx="35839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7137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11873" y="1044950"/>
            <a:ext cx="8854068" cy="406997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17" y="258027"/>
            <a:ext cx="7593107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r>
              <a:rPr lang="en-US" sz="900" dirty="0">
                <a:solidFill>
                  <a:srgbClr val="000066"/>
                </a:solidFill>
              </a:rPr>
              <a:t/>
            </a:r>
            <a:br>
              <a:rPr lang="en-US" sz="900" dirty="0">
                <a:solidFill>
                  <a:srgbClr val="000066"/>
                </a:solidFill>
              </a:rPr>
            </a:br>
            <a:r>
              <a:rPr lang="en-US" sz="2000" b="1" dirty="0">
                <a:solidFill>
                  <a:srgbClr val="000066"/>
                </a:solidFill>
              </a:rPr>
              <a:t>Economic Growth 4.0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589361" y="4735773"/>
            <a:ext cx="675564" cy="379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38" name="Rectangle 37"/>
          <p:cNvSpPr/>
          <p:nvPr/>
        </p:nvSpPr>
        <p:spPr>
          <a:xfrm>
            <a:off x="430306" y="1044948"/>
            <a:ext cx="1550894" cy="1787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40" name="TextBox 39"/>
          <p:cNvSpPr txBox="1"/>
          <p:nvPr/>
        </p:nvSpPr>
        <p:spPr>
          <a:xfrm>
            <a:off x="-106029" y="927131"/>
            <a:ext cx="4810613" cy="1323439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lvl="1"/>
            <a:r>
              <a:rPr lang="en-GB" sz="1600" dirty="0">
                <a:solidFill>
                  <a:srgbClr val="000066"/>
                </a:solidFill>
              </a:rPr>
              <a:t>The risks of failing to </a:t>
            </a:r>
            <a:r>
              <a:rPr lang="en-GB" sz="1600" b="1" dirty="0">
                <a:solidFill>
                  <a:srgbClr val="000066"/>
                </a:solidFill>
              </a:rPr>
              <a:t>fully understand the risks of the Fourth Industrial Revolution</a:t>
            </a:r>
            <a:r>
              <a:rPr lang="en-GB" sz="1600" dirty="0">
                <a:solidFill>
                  <a:srgbClr val="000066"/>
                </a:solidFill>
              </a:rPr>
              <a:t> and how this transition will impact countries, economies and people at a time of persistently sluggish growth.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4610365" y="927113"/>
            <a:ext cx="4533636" cy="4074300"/>
            <a:chOff x="430306" y="1044948"/>
            <a:chExt cx="4533636" cy="4074300"/>
          </a:xfrm>
        </p:grpSpPr>
        <p:sp>
          <p:nvSpPr>
            <p:cNvPr id="17" name="Rectangle 16"/>
            <p:cNvSpPr/>
            <p:nvPr/>
          </p:nvSpPr>
          <p:spPr>
            <a:xfrm>
              <a:off x="3589361" y="4735773"/>
              <a:ext cx="675564" cy="3791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69" b="20796"/>
            <a:stretch/>
          </p:blipFill>
          <p:spPr>
            <a:xfrm>
              <a:off x="430306" y="1044948"/>
              <a:ext cx="4377313" cy="4074300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/>
          </p:nvSpPr>
          <p:spPr>
            <a:xfrm>
              <a:off x="430306" y="1044948"/>
              <a:ext cx="1550894" cy="17873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086" t="82771" r="5127" b="4506"/>
            <a:stretch/>
          </p:blipFill>
          <p:spPr>
            <a:xfrm>
              <a:off x="4296322" y="4596024"/>
              <a:ext cx="667620" cy="514650"/>
            </a:xfrm>
            <a:prstGeom prst="rect">
              <a:avLst/>
            </a:prstGeom>
          </p:spPr>
        </p:pic>
        <p:pic>
          <p:nvPicPr>
            <p:cNvPr id="22" name="Picture 8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63" r="1"/>
            <a:stretch/>
          </p:blipFill>
          <p:spPr bwMode="auto">
            <a:xfrm>
              <a:off x="2519090" y="4115575"/>
              <a:ext cx="135040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8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36" r="4038"/>
            <a:stretch/>
          </p:blipFill>
          <p:spPr bwMode="auto">
            <a:xfrm>
              <a:off x="1541904" y="3388058"/>
              <a:ext cx="141139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9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882" y="3172058"/>
              <a:ext cx="144980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0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76"/>
            <a:stretch/>
          </p:blipFill>
          <p:spPr bwMode="auto">
            <a:xfrm>
              <a:off x="741214" y="4321567"/>
              <a:ext cx="139650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31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9043" y="4853349"/>
              <a:ext cx="147789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" name="Group 26"/>
          <p:cNvGrpSpPr/>
          <p:nvPr/>
        </p:nvGrpSpPr>
        <p:grpSpPr>
          <a:xfrm>
            <a:off x="3292555" y="2596027"/>
            <a:ext cx="3541633" cy="2283505"/>
            <a:chOff x="3198363" y="1419425"/>
            <a:chExt cx="3541633" cy="2283505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3198363" y="3702930"/>
              <a:ext cx="1317809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/>
            <p:cNvSpPr/>
            <p:nvPr/>
          </p:nvSpPr>
          <p:spPr>
            <a:xfrm>
              <a:off x="4516172" y="1689279"/>
              <a:ext cx="2223824" cy="2013651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3198363" y="1419425"/>
              <a:ext cx="1317809" cy="269854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98" name="Picture 2" descr="S:\CSI\2. GLOBAL COMPETITIVENESS NETWORK\Projects\Global Risk Reports\6. Presentations\2. Events and presentations - GRR 2016\2. KES 12 January 2016\Screen Shot 2016-01-10 at 16.41.18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95" y="2596009"/>
            <a:ext cx="2673818" cy="232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3" r="1"/>
          <a:stretch/>
        </p:blipFill>
        <p:spPr bwMode="auto">
          <a:xfrm>
            <a:off x="3292555" y="3691780"/>
            <a:ext cx="337600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8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6" r="4038"/>
          <a:stretch/>
        </p:blipFill>
        <p:spPr bwMode="auto">
          <a:xfrm>
            <a:off x="2083275" y="2784263"/>
            <a:ext cx="352848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1451" y="2532017"/>
            <a:ext cx="362450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0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"/>
          <a:stretch/>
        </p:blipFill>
        <p:spPr bwMode="auto">
          <a:xfrm>
            <a:off x="1166491" y="3871325"/>
            <a:ext cx="349125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823" y="4478189"/>
            <a:ext cx="369473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000066"/>
                </a:solidFill>
              </a:rPr>
              <a:t>The Security Outlook 2030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3151364" y="2575460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151364" y="3993743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790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Object 1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793738"/>
              </p:ext>
            </p:extLst>
          </p:nvPr>
        </p:nvGraphicFramePr>
        <p:xfrm>
          <a:off x="1567" y="1246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7" y="1246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4" y="1072755"/>
            <a:ext cx="4943367" cy="3719747"/>
          </a:xfrm>
        </p:spPr>
        <p:txBody>
          <a:bodyPr>
            <a:normAutofit/>
          </a:bodyPr>
          <a:lstStyle/>
          <a:p>
            <a:pPr marL="272183" indent="-272183"/>
            <a:r>
              <a:rPr lang="en-GB" dirty="0" smtClean="0"/>
              <a:t>The security landscape is in flux, threatening the last 25 years’ social, economic and political progress</a:t>
            </a:r>
          </a:p>
          <a:p>
            <a:pPr marL="272183" indent="-272183"/>
            <a:endParaRPr lang="en-GB" sz="700" dirty="0"/>
          </a:p>
          <a:p>
            <a:pPr marL="272183" indent="-272183"/>
            <a:r>
              <a:rPr lang="en-GB" dirty="0" smtClean="0"/>
              <a:t>Technology, social fragmentation and  demographics combine  to create new threats</a:t>
            </a:r>
          </a:p>
          <a:p>
            <a:pPr marL="272183" indent="-272183"/>
            <a:endParaRPr lang="en-GB" sz="700" dirty="0"/>
          </a:p>
          <a:p>
            <a:pPr marL="272183" indent="-272183">
              <a:lnSpc>
                <a:spcPct val="150000"/>
              </a:lnSpc>
            </a:pPr>
            <a:r>
              <a:rPr lang="en-GB" dirty="0" smtClean="0"/>
              <a:t>Two main phenomena:</a:t>
            </a:r>
            <a:endParaRPr lang="en-GB" dirty="0"/>
          </a:p>
          <a:p>
            <a:pPr marL="608551" lvl="1" indent="-272183"/>
            <a:r>
              <a:rPr lang="en-GB" dirty="0"/>
              <a:t>t</a:t>
            </a:r>
            <a:r>
              <a:rPr lang="en-GB" dirty="0" smtClean="0"/>
              <a:t>he vacuum from weak states allow space for significant non-state actors</a:t>
            </a:r>
          </a:p>
          <a:p>
            <a:pPr marL="608551" lvl="1" indent="-272183"/>
            <a:endParaRPr lang="en-GB" sz="300" dirty="0"/>
          </a:p>
          <a:p>
            <a:pPr marL="608551" lvl="1" indent="-272183"/>
            <a:r>
              <a:rPr lang="en-GB" dirty="0" smtClean="0"/>
              <a:t>a return of strategic competition from strong states</a:t>
            </a:r>
          </a:p>
          <a:p>
            <a:pPr marL="272183" lvl="1" indent="-272183"/>
            <a:endParaRPr lang="en-GB" sz="400" dirty="0"/>
          </a:p>
          <a:p>
            <a:pPr marL="272183" indent="-272183"/>
            <a:r>
              <a:rPr lang="en-GB" dirty="0" smtClean="0"/>
              <a:t>Multi-polar becomes multi-layered:  pressure both between </a:t>
            </a:r>
            <a:r>
              <a:rPr lang="en-GB" u="sng" dirty="0" smtClean="0"/>
              <a:t>and</a:t>
            </a:r>
            <a:r>
              <a:rPr lang="en-GB" dirty="0" smtClean="0"/>
              <a:t> withi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361" y="234574"/>
            <a:ext cx="7656204" cy="269267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Part 2 examines the security outlook over the next 15 year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312892" y="1915889"/>
            <a:ext cx="2423164" cy="1582275"/>
          </a:xfrm>
          <a:prstGeom prst="rect">
            <a:avLst/>
          </a:prstGeom>
          <a:solidFill>
            <a:srgbClr val="4F90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8458" tIns="34228" rIns="68458" bIns="34228" rtlCol="0" anchor="ctr">
            <a:noAutofit/>
          </a:bodyPr>
          <a:lstStyle/>
          <a:p>
            <a:pPr algn="ctr" defTabSz="684512"/>
            <a:r>
              <a:rPr lang="en-GB" sz="1500" b="1" dirty="0">
                <a:solidFill>
                  <a:srgbClr val="FFFFFF"/>
                </a:solidFill>
              </a:rPr>
              <a:t>Chronic and resurgent violence, conflicts and socio-economic volatility will remain prominent</a:t>
            </a:r>
          </a:p>
        </p:txBody>
      </p:sp>
      <p:sp>
        <p:nvSpPr>
          <p:cNvPr id="6" name="Isosceles Triangle 5"/>
          <p:cNvSpPr/>
          <p:nvPr/>
        </p:nvSpPr>
        <p:spPr bwMode="auto">
          <a:xfrm rot="5400000">
            <a:off x="4192909" y="2533767"/>
            <a:ext cx="3097097" cy="489796"/>
          </a:xfrm>
          <a:prstGeom prst="triangle">
            <a:avLst>
              <a:gd name="adj" fmla="val 49174"/>
            </a:avLst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458" tIns="34228" rIns="68458" bIns="342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4626" fontAlgn="base">
              <a:spcBef>
                <a:spcPct val="0"/>
              </a:spcBef>
              <a:spcAft>
                <a:spcPct val="0"/>
              </a:spcAft>
            </a:pPr>
            <a:endParaRPr lang="en-GB" sz="1500" dirty="0">
              <a:solidFill>
                <a:srgbClr val="000066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04775" y="4008776"/>
            <a:ext cx="133350" cy="83945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19" tIns="45656" rIns="91319" bIns="456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184"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Frutiger 55 Roman" pitchFamily="34" charset="0"/>
            </a:endParaRPr>
          </a:p>
        </p:txBody>
      </p:sp>
      <p:pic>
        <p:nvPicPr>
          <p:cNvPr id="28" name="Picture 2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879" y="1103990"/>
            <a:ext cx="587595" cy="57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416" y="1103990"/>
            <a:ext cx="652463" cy="597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26"/>
          <p:cNvSpPr/>
          <p:nvPr/>
        </p:nvSpPr>
        <p:spPr bwMode="auto">
          <a:xfrm>
            <a:off x="171450" y="4752975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165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Object 1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408123"/>
              </p:ext>
            </p:extLst>
          </p:nvPr>
        </p:nvGraphicFramePr>
        <p:xfrm>
          <a:off x="1565" y="1246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5" y="1246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377" y="234571"/>
            <a:ext cx="7826169" cy="269267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… and explores three plausible trajectories in a rapidly and radically changing international security landscap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14</a:t>
            </a:fld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0" y="1235627"/>
            <a:ext cx="2075175" cy="2945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3173" y="1235627"/>
            <a:ext cx="2083577" cy="2945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5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423" y="1235627"/>
            <a:ext cx="2083577" cy="2945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104775" y="4008776"/>
            <a:ext cx="133350" cy="83945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19" tIns="45656" rIns="91319" bIns="456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184"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Frutiger 55 Roman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71450" y="4800600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14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35478B"/>
                </a:solidFill>
              </a:rPr>
              <a:t>Risks in Focus: Society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3151364" y="2575460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151364" y="3993743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155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port highlights three broad-based risks that may </a:t>
            </a:r>
            <a:br>
              <a:rPr lang="en-US" dirty="0" smtClean="0"/>
            </a:br>
            <a:r>
              <a:rPr lang="en-US" dirty="0" smtClean="0"/>
              <a:t>affect global development over the coming decad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16</a:t>
            </a:fld>
            <a:endParaRPr lang="en-US" dirty="0">
              <a:solidFill>
                <a:srgbClr val="000066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49413" y="1251552"/>
            <a:ext cx="8062448" cy="605935"/>
            <a:chOff x="732644" y="1668735"/>
            <a:chExt cx="10751331" cy="807913"/>
          </a:xfrm>
        </p:grpSpPr>
        <p:sp>
          <p:nvSpPr>
            <p:cNvPr id="18" name="Text Box 14"/>
            <p:cNvSpPr txBox="1">
              <a:spLocks noChangeArrowheads="1"/>
            </p:cNvSpPr>
            <p:nvPr/>
          </p:nvSpPr>
          <p:spPr bwMode="gray">
            <a:xfrm>
              <a:off x="1765776" y="1668735"/>
              <a:ext cx="9718199" cy="8079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684740" eaLnBrk="1" hangingPunct="1">
                <a:spcAft>
                  <a:spcPts val="225"/>
                </a:spcAft>
              </a:pPr>
              <a:r>
                <a:rPr lang="en-US" sz="1300" b="1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(Dis)Empowered Citizen</a:t>
              </a:r>
            </a:p>
            <a:p>
              <a:pPr defTabSz="684740" eaLnBrk="1" hangingPunct="1">
                <a:spcAft>
                  <a:spcPts val="225"/>
                </a:spcAft>
              </a:pPr>
              <a:r>
                <a:rPr lang="en-US" sz="1200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The phenomenon of the (dis)empowered citizen, is a result of the interplay of technology empowering </a:t>
              </a:r>
              <a:r>
                <a:rPr lang="en-US" sz="1200" dirty="0" smtClean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citizens </a:t>
              </a:r>
              <a:r>
                <a:rPr lang="en-US" sz="1200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to find information, connect with others and organize, while at the same time those citizens feel disenfranchised by distant elites.</a:t>
              </a:r>
            </a:p>
          </p:txBody>
        </p:sp>
        <p:sp>
          <p:nvSpPr>
            <p:cNvPr id="21" name="Text Box 33"/>
            <p:cNvSpPr txBox="1">
              <a:spLocks noChangeArrowheads="1"/>
            </p:cNvSpPr>
            <p:nvPr/>
          </p:nvSpPr>
          <p:spPr bwMode="gray">
            <a:xfrm>
              <a:off x="732644" y="1693279"/>
              <a:ext cx="609519" cy="758825"/>
            </a:xfrm>
            <a:prstGeom prst="rect">
              <a:avLst/>
            </a:prstGeom>
            <a:extLst/>
          </p:spPr>
          <p:txBody>
            <a:bodyPr wrap="none" anchor="ctr">
              <a:normAutofit fontScale="85000" lnSpcReduction="20000"/>
            </a:bodyPr>
            <a:lstStyle/>
            <a:p>
              <a:pPr algn="r" defTabSz="684740"/>
              <a:r>
                <a:rPr lang="en-US" sz="4500" b="1" dirty="0">
                  <a:solidFill>
                    <a:srgbClr val="003399"/>
                  </a:solidFill>
                  <a:ea typeface="Arial Unicode MS" pitchFamily="34" charset="-128"/>
                  <a:cs typeface="Arial" charset="0"/>
                </a:rPr>
                <a:t>1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49413" y="2459949"/>
            <a:ext cx="8062448" cy="605935"/>
            <a:chOff x="732644" y="3279930"/>
            <a:chExt cx="10751331" cy="807913"/>
          </a:xfrm>
        </p:grpSpPr>
        <p:sp>
          <p:nvSpPr>
            <p:cNvPr id="14" name="Text Box 12"/>
            <p:cNvSpPr txBox="1">
              <a:spLocks noChangeArrowheads="1"/>
            </p:cNvSpPr>
            <p:nvPr/>
          </p:nvSpPr>
          <p:spPr bwMode="gray">
            <a:xfrm>
              <a:off x="1765777" y="3279930"/>
              <a:ext cx="9718198" cy="8079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rmAutofit/>
            </a:bodyPr>
            <a:lstStyle>
              <a:defPPr>
                <a:defRPr lang="en-GB"/>
              </a:defPPr>
              <a:lvl1pPr algn="l" eaLnBrk="1" hangingPunct="1">
                <a:spcBef>
                  <a:spcPct val="50000"/>
                </a:spcBef>
                <a:defRPr sz="1400" b="1">
                  <a:latin typeface="+mj-lt"/>
                  <a:cs typeface="Arial" charset="0"/>
                </a:defRPr>
              </a:lvl1pPr>
              <a:lvl2pPr marL="742950" indent="-285750" eaLnBrk="0" hangingPunct="0">
                <a:defRPr>
                  <a:cs typeface="Arial" charset="0"/>
                </a:defRPr>
              </a:lvl2pPr>
              <a:lvl3pPr marL="1143000" indent="-228600" eaLnBrk="0" hangingPunct="0">
                <a:defRPr>
                  <a:cs typeface="Arial" charset="0"/>
                </a:defRPr>
              </a:lvl3pPr>
              <a:lvl4pPr marL="1600200" indent="-228600" eaLnBrk="0" hangingPunct="0">
                <a:defRPr>
                  <a:cs typeface="Arial" charset="0"/>
                </a:defRPr>
              </a:lvl4pPr>
              <a:lvl5pPr marL="2057400" indent="-228600" eaLnBrk="0" hangingPunct="0">
                <a:defRPr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9pPr>
            </a:lstStyle>
            <a:p>
              <a:pPr defTabSz="684740">
                <a:spcBef>
                  <a:spcPts val="0"/>
                </a:spcBef>
                <a:spcAft>
                  <a:spcPts val="225"/>
                </a:spcAft>
              </a:pPr>
              <a:r>
                <a:rPr lang="en-US" sz="1300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Climate Change and Risks to Food Security</a:t>
              </a:r>
            </a:p>
            <a:p>
              <a:pPr defTabSz="733481">
                <a:spcBef>
                  <a:spcPts val="0"/>
                </a:spcBef>
                <a:spcAft>
                  <a:spcPts val="225"/>
                </a:spcAft>
              </a:pPr>
              <a:r>
                <a:rPr lang="en-US" sz="1200" b="0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Changing climate and weather patterns could jeopardize food security and agricultural production across geographies. Especially in already fragile societies this will fuel social instability.</a:t>
              </a:r>
              <a:endParaRPr lang="en-US" altLang="zh-CN" sz="1200" b="0" dirty="0">
                <a:solidFill>
                  <a:srgbClr val="000066"/>
                </a:solidFill>
                <a:latin typeface="Frutiger 45 Light" panose="020B0303030504020204" pitchFamily="34" charset="0"/>
              </a:endParaRPr>
            </a:p>
          </p:txBody>
        </p:sp>
        <p:sp>
          <p:nvSpPr>
            <p:cNvPr id="17" name="Text Box 33"/>
            <p:cNvSpPr txBox="1">
              <a:spLocks noChangeArrowheads="1"/>
            </p:cNvSpPr>
            <p:nvPr/>
          </p:nvSpPr>
          <p:spPr bwMode="gray">
            <a:xfrm>
              <a:off x="732644" y="3304474"/>
              <a:ext cx="609519" cy="758825"/>
            </a:xfrm>
            <a:prstGeom prst="rect">
              <a:avLst/>
            </a:prstGeom>
            <a:extLst/>
          </p:spPr>
          <p:txBody>
            <a:bodyPr wrap="none" anchor="ctr">
              <a:normAutofit fontScale="85000" lnSpcReduction="20000"/>
            </a:bodyPr>
            <a:lstStyle>
              <a:defPPr>
                <a:defRPr lang="en-US"/>
              </a:defPPr>
              <a:lvl1pPr algn="r" defTabSz="684740">
                <a:defRPr sz="4500" b="1">
                  <a:solidFill>
                    <a:srgbClr val="003399"/>
                  </a:solidFill>
                  <a:ea typeface="Arial Unicode MS" pitchFamily="34" charset="-128"/>
                  <a:cs typeface="Arial" charset="0"/>
                </a:defRPr>
              </a:lvl1pPr>
            </a:lstStyle>
            <a:p>
              <a:r>
                <a:rPr lang="en-US" dirty="0"/>
                <a:t>2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49413" y="3624891"/>
            <a:ext cx="8062448" cy="768196"/>
            <a:chOff x="732644" y="4833185"/>
            <a:chExt cx="10751331" cy="1024261"/>
          </a:xfrm>
        </p:grpSpPr>
        <p:sp>
          <p:nvSpPr>
            <p:cNvPr id="13" name="Text Box 33"/>
            <p:cNvSpPr txBox="1">
              <a:spLocks noChangeArrowheads="1"/>
            </p:cNvSpPr>
            <p:nvPr/>
          </p:nvSpPr>
          <p:spPr bwMode="gray">
            <a:xfrm>
              <a:off x="732644" y="4965903"/>
              <a:ext cx="609519" cy="758825"/>
            </a:xfrm>
            <a:prstGeom prst="rect">
              <a:avLst/>
            </a:prstGeom>
            <a:extLst/>
          </p:spPr>
          <p:txBody>
            <a:bodyPr wrap="none" anchor="ctr">
              <a:normAutofit fontScale="85000" lnSpcReduction="20000"/>
            </a:bodyPr>
            <a:lstStyle/>
            <a:p>
              <a:pPr algn="r" defTabSz="684740"/>
              <a:r>
                <a:rPr lang="en-US" sz="4500" b="1" dirty="0">
                  <a:solidFill>
                    <a:srgbClr val="003399"/>
                  </a:solidFill>
                  <a:ea typeface="Arial Unicode MS" pitchFamily="34" charset="-128"/>
                  <a:cs typeface="Arial" charset="0"/>
                </a:rPr>
                <a:t>3</a:t>
              </a:r>
            </a:p>
          </p:txBody>
        </p:sp>
        <p:sp>
          <p:nvSpPr>
            <p:cNvPr id="20" name="Text Box 12"/>
            <p:cNvSpPr txBox="1">
              <a:spLocks noChangeArrowheads="1"/>
            </p:cNvSpPr>
            <p:nvPr/>
          </p:nvSpPr>
          <p:spPr bwMode="gray">
            <a:xfrm>
              <a:off x="1765777" y="4833185"/>
              <a:ext cx="9718198" cy="10242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eaLnBrk="1" hangingPunct="1">
                <a:spcBef>
                  <a:spcPct val="50000"/>
                </a:spcBef>
                <a:defRPr sz="1400" b="1">
                  <a:latin typeface="+mj-lt"/>
                  <a:cs typeface="Arial" charset="0"/>
                </a:defRPr>
              </a:lvl1pPr>
              <a:lvl2pPr marL="742950" indent="-285750" eaLnBrk="0" hangingPunct="0">
                <a:defRPr>
                  <a:cs typeface="Arial" charset="0"/>
                </a:defRPr>
              </a:lvl2pPr>
              <a:lvl3pPr marL="1143000" indent="-228600" eaLnBrk="0" hangingPunct="0">
                <a:defRPr>
                  <a:cs typeface="Arial" charset="0"/>
                </a:defRPr>
              </a:lvl3pPr>
              <a:lvl4pPr marL="1600200" indent="-228600" eaLnBrk="0" hangingPunct="0">
                <a:defRPr>
                  <a:cs typeface="Arial" charset="0"/>
                </a:defRPr>
              </a:lvl4pPr>
              <a:lvl5pPr marL="2057400" indent="-228600" eaLnBrk="0" hangingPunct="0">
                <a:defRPr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cs typeface="Arial" charset="0"/>
                </a:defRPr>
              </a:lvl9pPr>
            </a:lstStyle>
            <a:p>
              <a:pPr defTabSz="684740">
                <a:spcBef>
                  <a:spcPts val="0"/>
                </a:spcBef>
                <a:spcAft>
                  <a:spcPts val="225"/>
                </a:spcAft>
              </a:pPr>
              <a:r>
                <a:rPr lang="en-US" sz="1300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Global Disease Outbreaks</a:t>
              </a:r>
            </a:p>
            <a:p>
              <a:pPr defTabSz="684740">
                <a:spcBef>
                  <a:spcPts val="0"/>
                </a:spcBef>
                <a:spcAft>
                  <a:spcPts val="225"/>
                </a:spcAft>
              </a:pPr>
              <a:r>
                <a:rPr lang="en-US" sz="1200" b="0" dirty="0">
                  <a:solidFill>
                    <a:srgbClr val="000066"/>
                  </a:solidFill>
                  <a:latin typeface="Frutiger 45 Light" panose="020B0303030504020204" pitchFamily="34" charset="0"/>
                </a:rPr>
                <a:t>Population growth, rapid urbanization and transnational commodity flows, intensify the risk of infectious transmission across geographies while equally diminishing the ability to respond – all at a time of growing resistance of microorganisms to today’s most effective medicines.</a:t>
              </a:r>
              <a:endParaRPr lang="en-US" altLang="zh-CN" sz="1200" b="0" dirty="0">
                <a:solidFill>
                  <a:srgbClr val="000066"/>
                </a:solidFill>
                <a:latin typeface="Frutiger 45 Light" panose="020B0303030504020204" pitchFamily="34" charset="0"/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>
                <a:latin typeface="Frutiger 45 Light" panose="020B0303030504020204" pitchFamily="34" charset="0"/>
              </a:rPr>
              <a:t>World Economic Forum, </a:t>
            </a:r>
            <a:r>
              <a:rPr lang="en-GB" i="1" dirty="0">
                <a:latin typeface="Frutiger 45 Light" panose="020B0303030504020204" pitchFamily="34" charset="0"/>
              </a:rPr>
              <a:t>Global Risks Report </a:t>
            </a:r>
            <a:r>
              <a:rPr lang="en-GB" i="1" dirty="0" smtClean="0">
                <a:latin typeface="Frutiger 45 Light" panose="020B0303030504020204" pitchFamily="34" charset="0"/>
              </a:rPr>
              <a:t>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171450" y="4819650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104775" y="4008776"/>
            <a:ext cx="133350" cy="83945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19" tIns="45656" rIns="91319" bIns="456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184"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95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>
              <a:spcAft>
                <a:spcPts val="0"/>
              </a:spcAft>
            </a:pPr>
            <a:endParaRPr lang="en-GB" sz="2800" dirty="0">
              <a:solidFill>
                <a:srgbClr val="35478B"/>
              </a:solidFill>
            </a:endParaRPr>
          </a:p>
          <a:p>
            <a:pPr>
              <a:spcAft>
                <a:spcPts val="0"/>
              </a:spcAft>
            </a:pPr>
            <a:r>
              <a:rPr lang="en-GB" sz="2800" dirty="0">
                <a:solidFill>
                  <a:srgbClr val="35478B"/>
                </a:solidFill>
              </a:rPr>
              <a:t>Risks for Doing Business at a Glance</a:t>
            </a:r>
          </a:p>
          <a:p>
            <a:pPr>
              <a:spcAft>
                <a:spcPts val="0"/>
              </a:spcAft>
            </a:pPr>
            <a:endParaRPr lang="en-US" sz="2800" dirty="0">
              <a:solidFill>
                <a:srgbClr val="35478B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151364" y="2575460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151364" y="3993743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84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10" b="22034"/>
          <a:stretch/>
        </p:blipFill>
        <p:spPr>
          <a:xfrm>
            <a:off x="23855" y="1083075"/>
            <a:ext cx="9120163" cy="3932808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457200" y="258027"/>
            <a:ext cx="6750050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35478B"/>
                </a:solidFill>
              </a:rPr>
              <a:t>The Global Risks Report 2016</a:t>
            </a:r>
            <a:r>
              <a:rPr lang="en-US" sz="1000" dirty="0">
                <a:solidFill>
                  <a:srgbClr val="35478B"/>
                </a:solidFill>
              </a:rPr>
              <a:t/>
            </a:r>
            <a:br>
              <a:rPr lang="en-US" sz="1000" dirty="0">
                <a:solidFill>
                  <a:srgbClr val="35478B"/>
                </a:solidFill>
              </a:rPr>
            </a:br>
            <a:r>
              <a:rPr lang="en-US" sz="2000" b="1" dirty="0">
                <a:solidFill>
                  <a:srgbClr val="35478B"/>
                </a:solidFill>
              </a:rPr>
              <a:t>Global Risk of Highest Concern for Doing Business</a:t>
            </a:r>
            <a:endParaRPr lang="en-GB" sz="1400" b="1" dirty="0">
              <a:solidFill>
                <a:srgbClr val="35478B"/>
              </a:solidFill>
            </a:endParaRPr>
          </a:p>
        </p:txBody>
      </p:sp>
      <p:pic>
        <p:nvPicPr>
          <p:cNvPr id="10" name="Picture Placeholder 5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" t="8755" r="80070" b="79930"/>
          <a:stretch/>
        </p:blipFill>
        <p:spPr>
          <a:xfrm>
            <a:off x="348708" y="3217214"/>
            <a:ext cx="1944381" cy="874077"/>
          </a:xfrm>
        </p:spPr>
      </p:pic>
      <p:pic>
        <p:nvPicPr>
          <p:cNvPr id="11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1" t="8755" r="63824" b="79930"/>
          <a:stretch/>
        </p:blipFill>
        <p:spPr>
          <a:xfrm>
            <a:off x="348708" y="4137872"/>
            <a:ext cx="1658967" cy="874077"/>
          </a:xfrm>
          <a:prstGeom prst="rect">
            <a:avLst/>
          </a:prstGeom>
        </p:spPr>
      </p:pic>
      <p:pic>
        <p:nvPicPr>
          <p:cNvPr id="12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1" t="8755" r="46354" b="79930"/>
          <a:stretch/>
        </p:blipFill>
        <p:spPr>
          <a:xfrm>
            <a:off x="5362102" y="4225010"/>
            <a:ext cx="1802167" cy="874077"/>
          </a:xfrm>
          <a:prstGeom prst="rect">
            <a:avLst/>
          </a:prstGeom>
        </p:spPr>
      </p:pic>
      <p:pic>
        <p:nvPicPr>
          <p:cNvPr id="13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5" t="8755" r="31720" b="79930"/>
          <a:stretch/>
        </p:blipFill>
        <p:spPr>
          <a:xfrm>
            <a:off x="3364637" y="4212830"/>
            <a:ext cx="1367162" cy="874077"/>
          </a:xfrm>
          <a:prstGeom prst="rect">
            <a:avLst/>
          </a:prstGeom>
        </p:spPr>
      </p:pic>
      <p:pic>
        <p:nvPicPr>
          <p:cNvPr id="14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81" t="8755" r="20637" b="79930"/>
          <a:stretch/>
        </p:blipFill>
        <p:spPr>
          <a:xfrm>
            <a:off x="384238" y="2344049"/>
            <a:ext cx="882993" cy="874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22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10" b="22034"/>
          <a:stretch/>
        </p:blipFill>
        <p:spPr>
          <a:xfrm>
            <a:off x="23850" y="903527"/>
            <a:ext cx="9120163" cy="3932808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/>
          </p:nvPr>
        </p:nvSpPr>
        <p:spPr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Global Risk of Highest Concern for Doing </a:t>
            </a:r>
            <a:r>
              <a:rPr lang="en-US" dirty="0" smtClean="0"/>
              <a:t>Business</a:t>
            </a:r>
            <a:br>
              <a:rPr lang="en-US" dirty="0" smtClean="0"/>
            </a:br>
            <a:r>
              <a:rPr lang="en-US" b="0" dirty="0" smtClean="0"/>
              <a:t>Failure of national governance</a:t>
            </a:r>
            <a:endParaRPr lang="en-GB" dirty="0"/>
          </a:p>
        </p:txBody>
      </p:sp>
      <p:pic>
        <p:nvPicPr>
          <p:cNvPr id="10" name="Picture Placeholder 5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" t="8755" r="80070" b="79930"/>
          <a:stretch/>
        </p:blipFill>
        <p:spPr>
          <a:xfrm>
            <a:off x="37404" y="3006341"/>
            <a:ext cx="1944038" cy="873919"/>
          </a:xfrm>
        </p:spPr>
      </p:pic>
      <p:pic>
        <p:nvPicPr>
          <p:cNvPr id="11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1" t="8755" r="63824" b="79930"/>
          <a:stretch/>
        </p:blipFill>
        <p:spPr>
          <a:xfrm>
            <a:off x="348708" y="3926864"/>
            <a:ext cx="1658967" cy="874077"/>
          </a:xfrm>
          <a:prstGeom prst="rect">
            <a:avLst/>
          </a:prstGeom>
        </p:spPr>
      </p:pic>
      <p:pic>
        <p:nvPicPr>
          <p:cNvPr id="12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1" t="8755" r="46354" b="79930"/>
          <a:stretch/>
        </p:blipFill>
        <p:spPr>
          <a:xfrm>
            <a:off x="5362102" y="3967844"/>
            <a:ext cx="1802167" cy="874077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 bwMode="auto">
          <a:xfrm>
            <a:off x="2175585" y="2976077"/>
            <a:ext cx="1471161" cy="1257311"/>
          </a:xfrm>
          <a:prstGeom prst="ellipse">
            <a:avLst/>
          </a:prstGeom>
          <a:noFill/>
          <a:ln w="76200" cap="flat" cmpd="sng" algn="ctr">
            <a:solidFill>
              <a:srgbClr val="9C63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00" tIns="34249" rIns="68500" bIns="342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025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3896084" y="2450334"/>
            <a:ext cx="442596" cy="450515"/>
          </a:xfrm>
          <a:prstGeom prst="ellipse">
            <a:avLst/>
          </a:prstGeom>
          <a:noFill/>
          <a:ln w="76200" cap="flat" cmpd="sng" algn="ctr">
            <a:solidFill>
              <a:srgbClr val="9C63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00" tIns="34249" rIns="68500" bIns="342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025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5057634" y="3458616"/>
            <a:ext cx="721036" cy="656195"/>
          </a:xfrm>
          <a:prstGeom prst="ellipse">
            <a:avLst/>
          </a:prstGeom>
          <a:noFill/>
          <a:ln w="76200" cap="flat" cmpd="sng" algn="ctr">
            <a:solidFill>
              <a:srgbClr val="9C63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00" tIns="34249" rIns="68500" bIns="342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025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6435706" y="2438813"/>
            <a:ext cx="360518" cy="328098"/>
          </a:xfrm>
          <a:prstGeom prst="ellipse">
            <a:avLst/>
          </a:prstGeom>
          <a:noFill/>
          <a:ln w="76200" cap="flat" cmpd="sng" algn="ctr">
            <a:solidFill>
              <a:srgbClr val="9C63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00" tIns="34249" rIns="68500" bIns="342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025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4854416" y="1602277"/>
            <a:ext cx="246857" cy="250232"/>
          </a:xfrm>
          <a:prstGeom prst="ellipse">
            <a:avLst/>
          </a:prstGeom>
          <a:noFill/>
          <a:ln w="76200" cap="flat" cmpd="sng" algn="ctr">
            <a:solidFill>
              <a:srgbClr val="9C63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00" tIns="34249" rIns="68500" bIns="342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025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4048218" y="2934511"/>
            <a:ext cx="246857" cy="250232"/>
          </a:xfrm>
          <a:prstGeom prst="ellipse">
            <a:avLst/>
          </a:prstGeom>
          <a:noFill/>
          <a:ln w="76200" cap="flat" cmpd="sng" algn="ctr">
            <a:solidFill>
              <a:srgbClr val="9C63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00" tIns="34249" rIns="68500" bIns="342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025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6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8577075" y="4924440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19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27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/>
          <a:p>
            <a:pPr algn="l"/>
            <a:r>
              <a:rPr lang="en-GB" dirty="0"/>
              <a:t>Source: </a:t>
            </a:r>
            <a:r>
              <a:rPr lang="en-GB" dirty="0">
                <a:latin typeface="Frutiger 45 Light" panose="020B0303030504020204" pitchFamily="34" charset="0"/>
              </a:rPr>
              <a:t>World Economic Forum, </a:t>
            </a:r>
            <a:r>
              <a:rPr lang="en-GB" i="1" dirty="0">
                <a:latin typeface="Frutiger 45 Light" panose="020B0303030504020204" pitchFamily="34" charset="0"/>
              </a:rPr>
              <a:t>Global Risks Report </a:t>
            </a:r>
            <a:r>
              <a:rPr lang="en-GB" i="1" dirty="0" smtClean="0">
                <a:latin typeface="Frutiger 45 Light" panose="020B0303030504020204" pitchFamily="34" charset="0"/>
              </a:rPr>
              <a:t>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pic>
        <p:nvPicPr>
          <p:cNvPr id="18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81" t="8755" r="20637" b="79930"/>
          <a:stretch/>
        </p:blipFill>
        <p:spPr>
          <a:xfrm>
            <a:off x="228385" y="2083163"/>
            <a:ext cx="882993" cy="874077"/>
          </a:xfrm>
          <a:prstGeom prst="rect">
            <a:avLst/>
          </a:prstGeom>
          <a:ln w="50800">
            <a:noFill/>
          </a:ln>
        </p:spPr>
      </p:pic>
      <p:sp>
        <p:nvSpPr>
          <p:cNvPr id="17" name="Rectangle 16"/>
          <p:cNvSpPr/>
          <p:nvPr/>
        </p:nvSpPr>
        <p:spPr bwMode="auto">
          <a:xfrm>
            <a:off x="171450" y="4819650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pic>
        <p:nvPicPr>
          <p:cNvPr id="13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5" t="9529" r="31720" b="81954"/>
          <a:stretch/>
        </p:blipFill>
        <p:spPr>
          <a:xfrm>
            <a:off x="3420742" y="4159250"/>
            <a:ext cx="1367162" cy="657864"/>
          </a:xfrm>
          <a:prstGeom prst="rect">
            <a:avLst/>
          </a:prstGeom>
          <a:ln w="50800">
            <a:solidFill>
              <a:srgbClr val="9C6334"/>
            </a:solidFill>
          </a:ln>
        </p:spPr>
      </p:pic>
    </p:spTree>
    <p:extLst>
      <p:ext uri="{BB962C8B-B14F-4D97-AF65-F5344CB8AC3E}">
        <p14:creationId xmlns:p14="http://schemas.microsoft.com/office/powerpoint/2010/main" val="282301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3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91" r="32691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Placeholder 15"/>
          <p:cNvPicPr>
            <a:picLocks noGrp="1" noChangeAspect="1"/>
          </p:cNvPicPr>
          <p:nvPr>
            <p:ph type="pic"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34" r="30334"/>
          <a:stretch>
            <a:fillRect/>
          </a:stretch>
        </p:blipFill>
        <p:spPr/>
      </p:pic>
      <p:sp>
        <p:nvSpPr>
          <p:cNvPr id="23" name="Rectangle 22"/>
          <p:cNvSpPr/>
          <p:nvPr/>
        </p:nvSpPr>
        <p:spPr>
          <a:xfrm>
            <a:off x="6070122" y="2493036"/>
            <a:ext cx="1268084" cy="9230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/>
        </p:nvSpPr>
        <p:spPr>
          <a:xfrm>
            <a:off x="4649457" y="2493036"/>
            <a:ext cx="1268084" cy="9230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pic>
        <p:nvPicPr>
          <p:cNvPr id="17" name="Picture Placeholder 6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84" r="26584"/>
          <a:stretch>
            <a:fillRect/>
          </a:stretch>
        </p:blipFill>
        <p:spPr/>
      </p:pic>
      <p:sp>
        <p:nvSpPr>
          <p:cNvPr id="9" name="Rectangle 8"/>
          <p:cNvSpPr/>
          <p:nvPr/>
        </p:nvSpPr>
        <p:spPr>
          <a:xfrm>
            <a:off x="3252158" y="2493036"/>
            <a:ext cx="1268084" cy="9230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30" name="Content Placeholder 2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66"/>
                </a:solidFill>
              </a:rPr>
              <a:t>Four parts covering risks</a:t>
            </a:r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6B743-C385-3242-B692-F58A8ADDA9C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255963" y="2528075"/>
            <a:ext cx="1220787" cy="1004887"/>
          </a:xfrm>
        </p:spPr>
        <p:txBody>
          <a:bodyPr/>
          <a:lstStyle/>
          <a:p>
            <a:r>
              <a:rPr lang="en-US" dirty="0" smtClean="0">
                <a:solidFill>
                  <a:srgbClr val="000066"/>
                </a:solidFill>
              </a:rPr>
              <a:t>01</a:t>
            </a:r>
          </a:p>
          <a:p>
            <a:pPr lvl="1"/>
            <a:r>
              <a:rPr lang="en-US" dirty="0" smtClean="0">
                <a:solidFill>
                  <a:srgbClr val="000066"/>
                </a:solidFill>
              </a:rPr>
              <a:t>The Global Risks Perception Survey</a:t>
            </a:r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662035" y="2535248"/>
            <a:ext cx="1220786" cy="1004887"/>
          </a:xfrm>
        </p:spPr>
        <p:txBody>
          <a:bodyPr/>
          <a:lstStyle/>
          <a:p>
            <a:r>
              <a:rPr lang="en-US" dirty="0" smtClean="0">
                <a:solidFill>
                  <a:srgbClr val="000066"/>
                </a:solidFill>
              </a:rPr>
              <a:t>02</a:t>
            </a:r>
          </a:p>
          <a:p>
            <a:r>
              <a:rPr lang="en-GB" b="1" dirty="0">
                <a:solidFill>
                  <a:srgbClr val="000066"/>
                </a:solidFill>
              </a:rPr>
              <a:t>The Security Outlook 2030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6058581" y="2516201"/>
            <a:ext cx="1220786" cy="1004887"/>
          </a:xfrm>
        </p:spPr>
        <p:txBody>
          <a:bodyPr/>
          <a:lstStyle/>
          <a:p>
            <a:r>
              <a:rPr lang="en-US" dirty="0" smtClean="0">
                <a:solidFill>
                  <a:srgbClr val="000066"/>
                </a:solidFill>
              </a:rPr>
              <a:t>03</a:t>
            </a:r>
          </a:p>
          <a:p>
            <a:pPr lvl="1"/>
            <a:r>
              <a:rPr lang="en-US" dirty="0" smtClean="0">
                <a:solidFill>
                  <a:srgbClr val="000066"/>
                </a:solidFill>
              </a:rPr>
              <a:t>Risks in Focus</a:t>
            </a:r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499231" y="2493036"/>
            <a:ext cx="1268084" cy="9230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408505" y="2493044"/>
            <a:ext cx="1220786" cy="1004887"/>
          </a:xfrm>
        </p:spPr>
        <p:txBody>
          <a:bodyPr/>
          <a:lstStyle/>
          <a:p>
            <a:r>
              <a:rPr lang="en-US" dirty="0" smtClean="0">
                <a:solidFill>
                  <a:srgbClr val="000066"/>
                </a:solidFill>
              </a:rPr>
              <a:t>04</a:t>
            </a:r>
          </a:p>
          <a:p>
            <a:pPr lvl="1"/>
            <a:r>
              <a:rPr lang="en-US" dirty="0" smtClean="0">
                <a:solidFill>
                  <a:srgbClr val="000066"/>
                </a:solidFill>
              </a:rPr>
              <a:t>Risks for Doing Business at a Glance</a:t>
            </a:r>
            <a:endParaRPr lang="en-US" dirty="0">
              <a:solidFill>
                <a:srgbClr val="00006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65" t="25615" r="32862" b="30277"/>
          <a:stretch/>
        </p:blipFill>
        <p:spPr>
          <a:xfrm>
            <a:off x="7499230" y="1143645"/>
            <a:ext cx="1220400" cy="132277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5" t="34792" r="56932" b="21100"/>
          <a:stretch/>
        </p:blipFill>
        <p:spPr>
          <a:xfrm>
            <a:off x="7499230" y="3416078"/>
            <a:ext cx="1220400" cy="1322773"/>
          </a:xfrm>
          <a:prstGeom prst="rect">
            <a:avLst/>
          </a:prstGeom>
        </p:spPr>
      </p:pic>
      <p:sp>
        <p:nvSpPr>
          <p:cNvPr id="28" name="Title 6"/>
          <p:cNvSpPr>
            <a:spLocks noGrp="1"/>
          </p:cNvSpPr>
          <p:nvPr>
            <p:ph type="title"/>
          </p:nvPr>
        </p:nvSpPr>
        <p:spPr>
          <a:xfrm>
            <a:off x="457200" y="258027"/>
            <a:ext cx="5020574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r>
              <a:rPr lang="en-US" sz="900" dirty="0"/>
              <a:t/>
            </a:r>
            <a:br>
              <a:rPr lang="en-US" sz="900" dirty="0"/>
            </a:b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056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10" b="22034"/>
          <a:stretch/>
        </p:blipFill>
        <p:spPr>
          <a:xfrm>
            <a:off x="23845" y="903527"/>
            <a:ext cx="9120163" cy="3932808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/>
          </p:nvPr>
        </p:nvSpPr>
        <p:spPr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Global Risk of Highest Concern for Doing </a:t>
            </a:r>
            <a:r>
              <a:rPr lang="en-US" dirty="0" smtClean="0"/>
              <a:t>Business</a:t>
            </a:r>
            <a:br>
              <a:rPr lang="en-US" dirty="0" smtClean="0"/>
            </a:br>
            <a:r>
              <a:rPr lang="en-US" b="0" dirty="0" smtClean="0"/>
              <a:t>Cyberattacks</a:t>
            </a:r>
            <a:endParaRPr lang="en-GB" b="0" dirty="0"/>
          </a:p>
        </p:txBody>
      </p:sp>
      <p:pic>
        <p:nvPicPr>
          <p:cNvPr id="10" name="Picture Placeholder 5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" t="8755" r="80070" b="79930"/>
          <a:stretch/>
        </p:blipFill>
        <p:spPr>
          <a:xfrm>
            <a:off x="37404" y="3006336"/>
            <a:ext cx="1944038" cy="873919"/>
          </a:xfrm>
        </p:spPr>
      </p:pic>
      <p:pic>
        <p:nvPicPr>
          <p:cNvPr id="11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1" t="8755" r="63824" b="79930"/>
          <a:stretch/>
        </p:blipFill>
        <p:spPr>
          <a:xfrm>
            <a:off x="348708" y="3926864"/>
            <a:ext cx="1658967" cy="874077"/>
          </a:xfrm>
          <a:prstGeom prst="rect">
            <a:avLst/>
          </a:prstGeom>
        </p:spPr>
      </p:pic>
      <p:pic>
        <p:nvPicPr>
          <p:cNvPr id="12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1" t="8755" r="46354" b="79930"/>
          <a:stretch/>
        </p:blipFill>
        <p:spPr>
          <a:xfrm>
            <a:off x="5362102" y="3967844"/>
            <a:ext cx="1802167" cy="874077"/>
          </a:xfrm>
          <a:prstGeom prst="rect">
            <a:avLst/>
          </a:prstGeom>
        </p:spPr>
      </p:pic>
      <p:pic>
        <p:nvPicPr>
          <p:cNvPr id="14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81" t="8755" r="20637" b="79930"/>
          <a:stretch/>
        </p:blipFill>
        <p:spPr>
          <a:xfrm>
            <a:off x="228380" y="2083163"/>
            <a:ext cx="882993" cy="874077"/>
          </a:xfrm>
          <a:prstGeom prst="rect">
            <a:avLst/>
          </a:prstGeom>
          <a:ln w="50800">
            <a:solidFill>
              <a:srgbClr val="7030A0"/>
            </a:solidFill>
          </a:ln>
        </p:spPr>
      </p:pic>
      <p:sp>
        <p:nvSpPr>
          <p:cNvPr id="7" name="Oval 6"/>
          <p:cNvSpPr/>
          <p:nvPr/>
        </p:nvSpPr>
        <p:spPr bwMode="auto">
          <a:xfrm>
            <a:off x="1178192" y="1617151"/>
            <a:ext cx="1676858" cy="1002323"/>
          </a:xfrm>
          <a:prstGeom prst="ellipse">
            <a:avLst/>
          </a:prstGeom>
          <a:noFill/>
          <a:ln w="762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30" tIns="34264" rIns="68530" bIns="342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10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87143" y="1223895"/>
            <a:ext cx="904509" cy="536327"/>
          </a:xfrm>
          <a:prstGeom prst="ellipse">
            <a:avLst/>
          </a:prstGeom>
          <a:noFill/>
          <a:ln w="762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30" tIns="34264" rIns="68530" bIns="342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10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4356901" y="1667029"/>
            <a:ext cx="485272" cy="361357"/>
          </a:xfrm>
          <a:prstGeom prst="ellipse">
            <a:avLst/>
          </a:prstGeom>
          <a:noFill/>
          <a:ln w="762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30" tIns="34264" rIns="68530" bIns="342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10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7503809" y="1847701"/>
            <a:ext cx="671979" cy="656336"/>
          </a:xfrm>
          <a:prstGeom prst="ellipse">
            <a:avLst/>
          </a:prstGeom>
          <a:noFill/>
          <a:ln w="762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30" tIns="34264" rIns="68530" bIns="342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10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6766288" y="2953449"/>
            <a:ext cx="737514" cy="328312"/>
          </a:xfrm>
          <a:prstGeom prst="ellipse">
            <a:avLst/>
          </a:prstGeom>
          <a:noFill/>
          <a:ln w="762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30" tIns="34264" rIns="68530" bIns="342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10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8577075" y="4924435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20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/>
          <a:p>
            <a:pPr algn="l"/>
            <a:r>
              <a:rPr lang="en-GB" dirty="0"/>
              <a:t>Source: </a:t>
            </a:r>
            <a:r>
              <a:rPr lang="en-GB" dirty="0">
                <a:latin typeface="Frutiger 45 Light" panose="020B0303030504020204" pitchFamily="34" charset="0"/>
              </a:rPr>
              <a:t>World Economic Forum, </a:t>
            </a:r>
            <a:r>
              <a:rPr lang="en-GB" i="1" dirty="0">
                <a:latin typeface="Frutiger 45 Light" panose="020B0303030504020204" pitchFamily="34" charset="0"/>
              </a:rPr>
              <a:t>Global Risks Report </a:t>
            </a:r>
            <a:r>
              <a:rPr lang="en-GB" i="1" dirty="0" smtClean="0">
                <a:latin typeface="Frutiger 45 Light" panose="020B0303030504020204" pitchFamily="34" charset="0"/>
              </a:rPr>
              <a:t>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71450" y="4819650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pic>
        <p:nvPicPr>
          <p:cNvPr id="22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5" t="9529" r="31720" b="81954"/>
          <a:stretch/>
        </p:blipFill>
        <p:spPr>
          <a:xfrm>
            <a:off x="3420742" y="4159250"/>
            <a:ext cx="1367162" cy="657864"/>
          </a:xfrm>
          <a:prstGeom prst="rect">
            <a:avLst/>
          </a:prstGeom>
          <a:ln w="50800">
            <a:noFill/>
          </a:ln>
        </p:spPr>
      </p:pic>
    </p:spTree>
    <p:extLst>
      <p:ext uri="{BB962C8B-B14F-4D97-AF65-F5344CB8AC3E}">
        <p14:creationId xmlns:p14="http://schemas.microsoft.com/office/powerpoint/2010/main" val="129431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7" grpId="0" animBg="1"/>
      <p:bldP spid="18" grpId="0" animBg="1"/>
      <p:bldP spid="1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10" b="22034"/>
          <a:stretch/>
        </p:blipFill>
        <p:spPr>
          <a:xfrm>
            <a:off x="23839" y="903527"/>
            <a:ext cx="9120163" cy="3932808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/>
          </p:nvPr>
        </p:nvSpPr>
        <p:spPr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Global Risk of Highest Concern for Doing </a:t>
            </a:r>
            <a:r>
              <a:rPr lang="en-US" dirty="0" smtClean="0"/>
              <a:t>Business</a:t>
            </a:r>
            <a:br>
              <a:rPr lang="en-US" dirty="0" smtClean="0"/>
            </a:br>
            <a:r>
              <a:rPr lang="en-US" b="0" dirty="0" smtClean="0"/>
              <a:t>Asset bubble</a:t>
            </a:r>
            <a:endParaRPr lang="en-GB" dirty="0"/>
          </a:p>
        </p:txBody>
      </p:sp>
      <p:pic>
        <p:nvPicPr>
          <p:cNvPr id="10" name="Picture Placeholder 5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" t="8755" r="80070" b="79930"/>
          <a:stretch/>
        </p:blipFill>
        <p:spPr>
          <a:xfrm>
            <a:off x="37404" y="3006330"/>
            <a:ext cx="1944038" cy="873919"/>
          </a:xfrm>
          <a:ln w="50800">
            <a:solidFill>
              <a:srgbClr val="002060"/>
            </a:solidFill>
          </a:ln>
        </p:spPr>
      </p:pic>
      <p:pic>
        <p:nvPicPr>
          <p:cNvPr id="11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1" t="8755" r="63824" b="79930"/>
          <a:stretch/>
        </p:blipFill>
        <p:spPr>
          <a:xfrm>
            <a:off x="348708" y="3926864"/>
            <a:ext cx="1658967" cy="874077"/>
          </a:xfrm>
          <a:prstGeom prst="rect">
            <a:avLst/>
          </a:prstGeom>
        </p:spPr>
      </p:pic>
      <p:pic>
        <p:nvPicPr>
          <p:cNvPr id="12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1" t="8755" r="46354" b="79930"/>
          <a:stretch/>
        </p:blipFill>
        <p:spPr>
          <a:xfrm>
            <a:off x="5362102" y="3967844"/>
            <a:ext cx="1802167" cy="874077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 bwMode="auto">
          <a:xfrm>
            <a:off x="3746475" y="1005949"/>
            <a:ext cx="1477395" cy="920526"/>
          </a:xfrm>
          <a:prstGeom prst="ellipse">
            <a:avLst/>
          </a:prstGeom>
          <a:noFill/>
          <a:ln w="7620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66" tIns="34282" rIns="68566" bIns="342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652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6208800" y="1505699"/>
            <a:ext cx="1616615" cy="1605341"/>
          </a:xfrm>
          <a:prstGeom prst="ellipse">
            <a:avLst/>
          </a:prstGeom>
          <a:noFill/>
          <a:ln w="7620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66" tIns="34282" rIns="68566" bIns="342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652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7137627" y="3478877"/>
            <a:ext cx="1234279" cy="1072342"/>
          </a:xfrm>
          <a:prstGeom prst="ellipse">
            <a:avLst/>
          </a:prstGeom>
          <a:noFill/>
          <a:ln w="7620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66" tIns="34282" rIns="68566" bIns="342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652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66"/>
              </a:solidFill>
            </a:endParaRPr>
          </a:p>
        </p:txBody>
      </p:sp>
      <p:sp>
        <p:nvSpPr>
          <p:cNvPr id="26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8577075" y="4924429"/>
            <a:ext cx="269965" cy="111919"/>
          </a:xfrm>
        </p:spPr>
        <p:txBody>
          <a:bodyPr/>
          <a:lstStyle/>
          <a:p>
            <a:fld id="{2F5B0B8F-E14C-4F70-8AB9-5AF296774661}" type="slidenum">
              <a:rPr lang="en-US" smtClean="0">
                <a:solidFill>
                  <a:srgbClr val="000066"/>
                </a:solidFill>
              </a:rPr>
              <a:pPr/>
              <a:t>21</a:t>
            </a:fld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27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1903" y="4924801"/>
            <a:ext cx="8299956" cy="113270"/>
          </a:xfrm>
        </p:spPr>
        <p:txBody>
          <a:bodyPr/>
          <a:lstStyle/>
          <a:p>
            <a:pPr algn="l"/>
            <a:r>
              <a:rPr lang="en-GB" dirty="0"/>
              <a:t>Source: </a:t>
            </a:r>
            <a:r>
              <a:rPr lang="en-GB" dirty="0">
                <a:latin typeface="Frutiger 45 Light" panose="020B0303030504020204" pitchFamily="34" charset="0"/>
              </a:rPr>
              <a:t>World Economic Forum, </a:t>
            </a:r>
            <a:r>
              <a:rPr lang="en-GB" i="1" dirty="0">
                <a:latin typeface="Frutiger 45 Light" panose="020B0303030504020204" pitchFamily="34" charset="0"/>
              </a:rPr>
              <a:t>Global Risks Report </a:t>
            </a:r>
            <a:r>
              <a:rPr lang="en-GB" i="1" dirty="0" smtClean="0">
                <a:latin typeface="Frutiger 45 Light" panose="020B0303030504020204" pitchFamily="34" charset="0"/>
              </a:rPr>
              <a:t>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pic>
        <p:nvPicPr>
          <p:cNvPr id="19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81" t="8755" r="20637" b="79930"/>
          <a:stretch/>
        </p:blipFill>
        <p:spPr>
          <a:xfrm>
            <a:off x="228374" y="2083163"/>
            <a:ext cx="882993" cy="874077"/>
          </a:xfrm>
          <a:prstGeom prst="rect">
            <a:avLst/>
          </a:prstGeom>
          <a:ln w="50800">
            <a:noFill/>
          </a:ln>
        </p:spPr>
      </p:pic>
      <p:sp>
        <p:nvSpPr>
          <p:cNvPr id="14" name="Rectangle 13"/>
          <p:cNvSpPr/>
          <p:nvPr/>
        </p:nvSpPr>
        <p:spPr bwMode="auto">
          <a:xfrm>
            <a:off x="171450" y="4819650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pic>
        <p:nvPicPr>
          <p:cNvPr id="15" name="Picture Placeholder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5" t="9529" r="31720" b="81954"/>
          <a:stretch/>
        </p:blipFill>
        <p:spPr>
          <a:xfrm>
            <a:off x="3420742" y="4159250"/>
            <a:ext cx="1367162" cy="657864"/>
          </a:xfrm>
          <a:prstGeom prst="rect">
            <a:avLst/>
          </a:prstGeom>
          <a:ln w="50800">
            <a:noFill/>
          </a:ln>
        </p:spPr>
      </p:pic>
    </p:spTree>
    <p:extLst>
      <p:ext uri="{BB962C8B-B14F-4D97-AF65-F5344CB8AC3E}">
        <p14:creationId xmlns:p14="http://schemas.microsoft.com/office/powerpoint/2010/main" val="119236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7" grpId="0" animBg="1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s in Europe are overwhelmingly concerned by economic </a:t>
            </a:r>
            <a:r>
              <a:rPr lang="en-US" dirty="0" smtClean="0"/>
              <a:t>challeng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F5B0B8F-E14C-4F70-8AB9-5AF296774661}" type="slidenum">
              <a:rPr lang="en-US" smtClean="0"/>
              <a:t>22</a:t>
            </a:fld>
            <a:endParaRPr lang="en-US" dirty="0"/>
          </a:p>
        </p:txBody>
      </p:sp>
      <p:sp>
        <p:nvSpPr>
          <p:cNvPr id="143" name="Text Placeholder 4"/>
          <p:cNvSpPr txBox="1">
            <a:spLocks/>
          </p:cNvSpPr>
          <p:nvPr/>
        </p:nvSpPr>
        <p:spPr bwMode="gray">
          <a:xfrm>
            <a:off x="475710" y="1367853"/>
            <a:ext cx="32954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158740" indent="-158740" algn="l" defTabSz="793699" rtl="0" eaLnBrk="1" latinLnBrk="0" hangingPunct="1">
              <a:spcBef>
                <a:spcPts val="608"/>
              </a:spcBef>
              <a:buFont typeface="Arial" panose="020B0604020202020204" pitchFamily="34" charset="0"/>
              <a:buChar char="•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9543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–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283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22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82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56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530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404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04848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39" indent="-119039" defTabSz="595195" fontAlgn="base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en-US" sz="1200" b="1" dirty="0">
                <a:solidFill>
                  <a:srgbClr val="000066"/>
                </a:solidFill>
              </a:rPr>
              <a:t>Top risks for doing business by country</a:t>
            </a:r>
          </a:p>
        </p:txBody>
      </p:sp>
      <p:sp>
        <p:nvSpPr>
          <p:cNvPr id="144" name="Text Placeholder 5"/>
          <p:cNvSpPr txBox="1">
            <a:spLocks/>
          </p:cNvSpPr>
          <p:nvPr/>
        </p:nvSpPr>
        <p:spPr bwMode="gray">
          <a:xfrm>
            <a:off x="4075061" y="3019740"/>
            <a:ext cx="277713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158740" indent="-158740" algn="l" defTabSz="793699" rtl="0" eaLnBrk="1" latinLnBrk="0" hangingPunct="1">
              <a:spcBef>
                <a:spcPts val="608"/>
              </a:spcBef>
              <a:buFont typeface="Arial" panose="020B0604020202020204" pitchFamily="34" charset="0"/>
              <a:buChar char="•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9543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–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283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22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82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56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530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4045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04848" indent="-158740" algn="l" defTabSz="793699" rtl="0" eaLnBrk="1" latinLnBrk="0" hangingPunct="1">
              <a:spcBef>
                <a:spcPts val="260"/>
              </a:spcBef>
              <a:buFont typeface="Arial" panose="020B0604020202020204" pitchFamily="34" charset="0"/>
              <a:buChar char="-"/>
              <a:defRPr sz="17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39" indent="-119039" defTabSz="595195" fontAlgn="base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en-US" sz="1200" b="1" dirty="0">
                <a:solidFill>
                  <a:srgbClr val="000066"/>
                </a:solidFill>
              </a:rPr>
              <a:t>Top 5 risks for </a:t>
            </a:r>
            <a:r>
              <a:rPr lang="en-US" sz="1200" b="1" dirty="0" smtClean="0">
                <a:solidFill>
                  <a:srgbClr val="000066"/>
                </a:solidFill>
              </a:rPr>
              <a:t>Luxembourg</a:t>
            </a:r>
            <a:endParaRPr lang="en-US" sz="1200" b="1" dirty="0">
              <a:solidFill>
                <a:srgbClr val="000066"/>
              </a:solidFill>
            </a:endParaRPr>
          </a:p>
        </p:txBody>
      </p:sp>
      <p:sp>
        <p:nvSpPr>
          <p:cNvPr id="145" name="Text Placeholder 5"/>
          <p:cNvSpPr txBox="1">
            <a:spLocks/>
          </p:cNvSpPr>
          <p:nvPr/>
        </p:nvSpPr>
        <p:spPr bwMode="gray">
          <a:xfrm>
            <a:off x="4077263" y="1374273"/>
            <a:ext cx="2777304" cy="189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595195"/>
            <a:r>
              <a:rPr lang="en-US" kern="0" dirty="0">
                <a:solidFill>
                  <a:srgbClr val="000066"/>
                </a:solidFill>
                <a:latin typeface="+mn-lt"/>
              </a:rPr>
              <a:t>Top 5 risks for </a:t>
            </a:r>
            <a:r>
              <a:rPr lang="en-GB" kern="0" dirty="0">
                <a:solidFill>
                  <a:srgbClr val="000066"/>
                </a:solidFill>
                <a:latin typeface="+mn-lt"/>
              </a:rPr>
              <a:t>Europe</a:t>
            </a:r>
            <a:endParaRPr lang="en-GB" kern="0" baseline="30000" dirty="0">
              <a:solidFill>
                <a:srgbClr val="000066"/>
              </a:solidFill>
              <a:latin typeface="+mn-lt"/>
            </a:endParaRPr>
          </a:p>
        </p:txBody>
      </p:sp>
      <p:grpSp>
        <p:nvGrpSpPr>
          <p:cNvPr id="168" name="Group 167"/>
          <p:cNvGrpSpPr>
            <a:grpSpLocks noChangeAspect="1"/>
          </p:cNvGrpSpPr>
          <p:nvPr/>
        </p:nvGrpSpPr>
        <p:grpSpPr bwMode="gray">
          <a:xfrm>
            <a:off x="645929" y="1509506"/>
            <a:ext cx="3007934" cy="3211309"/>
            <a:chOff x="459485" y="1844353"/>
            <a:chExt cx="3359831" cy="3868986"/>
          </a:xfrm>
        </p:grpSpPr>
        <p:sp>
          <p:nvSpPr>
            <p:cNvPr id="169" name="Freeform 4"/>
            <p:cNvSpPr>
              <a:spLocks/>
            </p:cNvSpPr>
            <p:nvPr/>
          </p:nvSpPr>
          <p:spPr bwMode="gray">
            <a:xfrm>
              <a:off x="2449078" y="3719986"/>
              <a:ext cx="683741" cy="556535"/>
            </a:xfrm>
            <a:custGeom>
              <a:avLst/>
              <a:gdLst>
                <a:gd name="T0" fmla="*/ 18 w 624"/>
                <a:gd name="T1" fmla="*/ 120 h 533"/>
                <a:gd name="T2" fmla="*/ 72 w 624"/>
                <a:gd name="T3" fmla="*/ 78 h 533"/>
                <a:gd name="T4" fmla="*/ 144 w 624"/>
                <a:gd name="T5" fmla="*/ 32 h 533"/>
                <a:gd name="T6" fmla="*/ 204 w 624"/>
                <a:gd name="T7" fmla="*/ 4 h 533"/>
                <a:gd name="T8" fmla="*/ 232 w 624"/>
                <a:gd name="T9" fmla="*/ 10 h 533"/>
                <a:gd name="T10" fmla="*/ 250 w 624"/>
                <a:gd name="T11" fmla="*/ 42 h 533"/>
                <a:gd name="T12" fmla="*/ 294 w 624"/>
                <a:gd name="T13" fmla="*/ 34 h 533"/>
                <a:gd name="T14" fmla="*/ 294 w 624"/>
                <a:gd name="T15" fmla="*/ 36 h 533"/>
                <a:gd name="T16" fmla="*/ 290 w 624"/>
                <a:gd name="T17" fmla="*/ 48 h 533"/>
                <a:gd name="T18" fmla="*/ 310 w 624"/>
                <a:gd name="T19" fmla="*/ 28 h 533"/>
                <a:gd name="T20" fmla="*/ 404 w 624"/>
                <a:gd name="T21" fmla="*/ 26 h 533"/>
                <a:gd name="T22" fmla="*/ 468 w 624"/>
                <a:gd name="T23" fmla="*/ 14 h 533"/>
                <a:gd name="T24" fmla="*/ 504 w 624"/>
                <a:gd name="T25" fmla="*/ 12 h 533"/>
                <a:gd name="T26" fmla="*/ 528 w 624"/>
                <a:gd name="T27" fmla="*/ 42 h 533"/>
                <a:gd name="T28" fmla="*/ 564 w 624"/>
                <a:gd name="T29" fmla="*/ 112 h 533"/>
                <a:gd name="T30" fmla="*/ 546 w 624"/>
                <a:gd name="T31" fmla="*/ 177 h 533"/>
                <a:gd name="T32" fmla="*/ 554 w 624"/>
                <a:gd name="T33" fmla="*/ 209 h 533"/>
                <a:gd name="T34" fmla="*/ 574 w 624"/>
                <a:gd name="T35" fmla="*/ 249 h 533"/>
                <a:gd name="T36" fmla="*/ 574 w 624"/>
                <a:gd name="T37" fmla="*/ 269 h 533"/>
                <a:gd name="T38" fmla="*/ 584 w 624"/>
                <a:gd name="T39" fmla="*/ 293 h 533"/>
                <a:gd name="T40" fmla="*/ 622 w 624"/>
                <a:gd name="T41" fmla="*/ 329 h 533"/>
                <a:gd name="T42" fmla="*/ 614 w 624"/>
                <a:gd name="T43" fmla="*/ 341 h 533"/>
                <a:gd name="T44" fmla="*/ 618 w 624"/>
                <a:gd name="T45" fmla="*/ 377 h 533"/>
                <a:gd name="T46" fmla="*/ 582 w 624"/>
                <a:gd name="T47" fmla="*/ 417 h 533"/>
                <a:gd name="T48" fmla="*/ 558 w 624"/>
                <a:gd name="T49" fmla="*/ 477 h 533"/>
                <a:gd name="T50" fmla="*/ 576 w 624"/>
                <a:gd name="T51" fmla="*/ 511 h 533"/>
                <a:gd name="T52" fmla="*/ 556 w 624"/>
                <a:gd name="T53" fmla="*/ 519 h 533"/>
                <a:gd name="T54" fmla="*/ 512 w 624"/>
                <a:gd name="T55" fmla="*/ 497 h 533"/>
                <a:gd name="T56" fmla="*/ 458 w 624"/>
                <a:gd name="T57" fmla="*/ 497 h 533"/>
                <a:gd name="T58" fmla="*/ 434 w 624"/>
                <a:gd name="T59" fmla="*/ 503 h 533"/>
                <a:gd name="T60" fmla="*/ 400 w 624"/>
                <a:gd name="T61" fmla="*/ 529 h 533"/>
                <a:gd name="T62" fmla="*/ 364 w 624"/>
                <a:gd name="T63" fmla="*/ 509 h 533"/>
                <a:gd name="T64" fmla="*/ 336 w 624"/>
                <a:gd name="T65" fmla="*/ 519 h 533"/>
                <a:gd name="T66" fmla="*/ 314 w 624"/>
                <a:gd name="T67" fmla="*/ 509 h 533"/>
                <a:gd name="T68" fmla="*/ 296 w 624"/>
                <a:gd name="T69" fmla="*/ 483 h 533"/>
                <a:gd name="T70" fmla="*/ 274 w 624"/>
                <a:gd name="T71" fmla="*/ 469 h 533"/>
                <a:gd name="T72" fmla="*/ 240 w 624"/>
                <a:gd name="T73" fmla="*/ 461 h 533"/>
                <a:gd name="T74" fmla="*/ 240 w 624"/>
                <a:gd name="T75" fmla="*/ 451 h 533"/>
                <a:gd name="T76" fmla="*/ 218 w 624"/>
                <a:gd name="T77" fmla="*/ 447 h 533"/>
                <a:gd name="T78" fmla="*/ 188 w 624"/>
                <a:gd name="T79" fmla="*/ 433 h 533"/>
                <a:gd name="T80" fmla="*/ 172 w 624"/>
                <a:gd name="T81" fmla="*/ 467 h 533"/>
                <a:gd name="T82" fmla="*/ 154 w 624"/>
                <a:gd name="T83" fmla="*/ 447 h 533"/>
                <a:gd name="T84" fmla="*/ 150 w 624"/>
                <a:gd name="T85" fmla="*/ 415 h 533"/>
                <a:gd name="T86" fmla="*/ 126 w 624"/>
                <a:gd name="T87" fmla="*/ 415 h 533"/>
                <a:gd name="T88" fmla="*/ 82 w 624"/>
                <a:gd name="T89" fmla="*/ 399 h 533"/>
                <a:gd name="T90" fmla="*/ 60 w 624"/>
                <a:gd name="T91" fmla="*/ 389 h 533"/>
                <a:gd name="T92" fmla="*/ 46 w 624"/>
                <a:gd name="T93" fmla="*/ 341 h 533"/>
                <a:gd name="T94" fmla="*/ 44 w 624"/>
                <a:gd name="T95" fmla="*/ 303 h 533"/>
                <a:gd name="T96" fmla="*/ 30 w 624"/>
                <a:gd name="T97" fmla="*/ 267 h 533"/>
                <a:gd name="T98" fmla="*/ 34 w 624"/>
                <a:gd name="T99" fmla="*/ 241 h 533"/>
                <a:gd name="T100" fmla="*/ 0 w 624"/>
                <a:gd name="T101" fmla="*/ 205 h 533"/>
                <a:gd name="T102" fmla="*/ 16 w 624"/>
                <a:gd name="T103" fmla="*/ 169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4" h="533">
                  <a:moveTo>
                    <a:pt x="0" y="114"/>
                  </a:moveTo>
                  <a:lnTo>
                    <a:pt x="6" y="120"/>
                  </a:lnTo>
                  <a:lnTo>
                    <a:pt x="18" y="120"/>
                  </a:lnTo>
                  <a:lnTo>
                    <a:pt x="10" y="106"/>
                  </a:lnTo>
                  <a:lnTo>
                    <a:pt x="34" y="94"/>
                  </a:lnTo>
                  <a:lnTo>
                    <a:pt x="72" y="78"/>
                  </a:lnTo>
                  <a:lnTo>
                    <a:pt x="108" y="64"/>
                  </a:lnTo>
                  <a:lnTo>
                    <a:pt x="124" y="38"/>
                  </a:lnTo>
                  <a:lnTo>
                    <a:pt x="144" y="32"/>
                  </a:lnTo>
                  <a:lnTo>
                    <a:pt x="166" y="14"/>
                  </a:lnTo>
                  <a:lnTo>
                    <a:pt x="182" y="10"/>
                  </a:lnTo>
                  <a:lnTo>
                    <a:pt x="204" y="4"/>
                  </a:lnTo>
                  <a:lnTo>
                    <a:pt x="224" y="0"/>
                  </a:lnTo>
                  <a:lnTo>
                    <a:pt x="230" y="4"/>
                  </a:lnTo>
                  <a:lnTo>
                    <a:pt x="232" y="10"/>
                  </a:lnTo>
                  <a:lnTo>
                    <a:pt x="238" y="22"/>
                  </a:lnTo>
                  <a:lnTo>
                    <a:pt x="242" y="32"/>
                  </a:lnTo>
                  <a:lnTo>
                    <a:pt x="250" y="42"/>
                  </a:lnTo>
                  <a:lnTo>
                    <a:pt x="264" y="44"/>
                  </a:lnTo>
                  <a:lnTo>
                    <a:pt x="282" y="42"/>
                  </a:lnTo>
                  <a:lnTo>
                    <a:pt x="294" y="34"/>
                  </a:lnTo>
                  <a:lnTo>
                    <a:pt x="298" y="28"/>
                  </a:lnTo>
                  <a:lnTo>
                    <a:pt x="300" y="28"/>
                  </a:lnTo>
                  <a:lnTo>
                    <a:pt x="294" y="36"/>
                  </a:lnTo>
                  <a:lnTo>
                    <a:pt x="288" y="40"/>
                  </a:lnTo>
                  <a:lnTo>
                    <a:pt x="286" y="44"/>
                  </a:lnTo>
                  <a:lnTo>
                    <a:pt x="290" y="48"/>
                  </a:lnTo>
                  <a:lnTo>
                    <a:pt x="298" y="40"/>
                  </a:lnTo>
                  <a:lnTo>
                    <a:pt x="306" y="32"/>
                  </a:lnTo>
                  <a:lnTo>
                    <a:pt x="310" y="28"/>
                  </a:lnTo>
                  <a:lnTo>
                    <a:pt x="328" y="28"/>
                  </a:lnTo>
                  <a:lnTo>
                    <a:pt x="364" y="26"/>
                  </a:lnTo>
                  <a:lnTo>
                    <a:pt x="404" y="26"/>
                  </a:lnTo>
                  <a:lnTo>
                    <a:pt x="428" y="22"/>
                  </a:lnTo>
                  <a:lnTo>
                    <a:pt x="450" y="18"/>
                  </a:lnTo>
                  <a:lnTo>
                    <a:pt x="468" y="14"/>
                  </a:lnTo>
                  <a:lnTo>
                    <a:pt x="480" y="4"/>
                  </a:lnTo>
                  <a:lnTo>
                    <a:pt x="490" y="2"/>
                  </a:lnTo>
                  <a:lnTo>
                    <a:pt x="504" y="12"/>
                  </a:lnTo>
                  <a:lnTo>
                    <a:pt x="514" y="14"/>
                  </a:lnTo>
                  <a:lnTo>
                    <a:pt x="524" y="24"/>
                  </a:lnTo>
                  <a:lnTo>
                    <a:pt x="528" y="42"/>
                  </a:lnTo>
                  <a:lnTo>
                    <a:pt x="538" y="64"/>
                  </a:lnTo>
                  <a:lnTo>
                    <a:pt x="550" y="90"/>
                  </a:lnTo>
                  <a:lnTo>
                    <a:pt x="564" y="112"/>
                  </a:lnTo>
                  <a:lnTo>
                    <a:pt x="576" y="155"/>
                  </a:lnTo>
                  <a:lnTo>
                    <a:pt x="556" y="171"/>
                  </a:lnTo>
                  <a:lnTo>
                    <a:pt x="546" y="177"/>
                  </a:lnTo>
                  <a:lnTo>
                    <a:pt x="540" y="197"/>
                  </a:lnTo>
                  <a:lnTo>
                    <a:pt x="540" y="209"/>
                  </a:lnTo>
                  <a:lnTo>
                    <a:pt x="554" y="209"/>
                  </a:lnTo>
                  <a:lnTo>
                    <a:pt x="566" y="215"/>
                  </a:lnTo>
                  <a:lnTo>
                    <a:pt x="572" y="225"/>
                  </a:lnTo>
                  <a:lnTo>
                    <a:pt x="574" y="249"/>
                  </a:lnTo>
                  <a:lnTo>
                    <a:pt x="570" y="253"/>
                  </a:lnTo>
                  <a:lnTo>
                    <a:pt x="570" y="261"/>
                  </a:lnTo>
                  <a:lnTo>
                    <a:pt x="574" y="269"/>
                  </a:lnTo>
                  <a:lnTo>
                    <a:pt x="578" y="271"/>
                  </a:lnTo>
                  <a:lnTo>
                    <a:pt x="584" y="283"/>
                  </a:lnTo>
                  <a:lnTo>
                    <a:pt x="584" y="293"/>
                  </a:lnTo>
                  <a:lnTo>
                    <a:pt x="600" y="305"/>
                  </a:lnTo>
                  <a:lnTo>
                    <a:pt x="600" y="311"/>
                  </a:lnTo>
                  <a:lnTo>
                    <a:pt x="622" y="329"/>
                  </a:lnTo>
                  <a:lnTo>
                    <a:pt x="622" y="333"/>
                  </a:lnTo>
                  <a:lnTo>
                    <a:pt x="614" y="335"/>
                  </a:lnTo>
                  <a:lnTo>
                    <a:pt x="614" y="341"/>
                  </a:lnTo>
                  <a:lnTo>
                    <a:pt x="624" y="351"/>
                  </a:lnTo>
                  <a:lnTo>
                    <a:pt x="624" y="365"/>
                  </a:lnTo>
                  <a:lnTo>
                    <a:pt x="618" y="377"/>
                  </a:lnTo>
                  <a:lnTo>
                    <a:pt x="606" y="381"/>
                  </a:lnTo>
                  <a:lnTo>
                    <a:pt x="598" y="395"/>
                  </a:lnTo>
                  <a:lnTo>
                    <a:pt x="582" y="417"/>
                  </a:lnTo>
                  <a:lnTo>
                    <a:pt x="568" y="443"/>
                  </a:lnTo>
                  <a:lnTo>
                    <a:pt x="556" y="467"/>
                  </a:lnTo>
                  <a:lnTo>
                    <a:pt x="558" y="477"/>
                  </a:lnTo>
                  <a:lnTo>
                    <a:pt x="564" y="491"/>
                  </a:lnTo>
                  <a:lnTo>
                    <a:pt x="566" y="505"/>
                  </a:lnTo>
                  <a:lnTo>
                    <a:pt x="576" y="511"/>
                  </a:lnTo>
                  <a:lnTo>
                    <a:pt x="574" y="519"/>
                  </a:lnTo>
                  <a:lnTo>
                    <a:pt x="562" y="519"/>
                  </a:lnTo>
                  <a:lnTo>
                    <a:pt x="556" y="519"/>
                  </a:lnTo>
                  <a:lnTo>
                    <a:pt x="544" y="513"/>
                  </a:lnTo>
                  <a:lnTo>
                    <a:pt x="528" y="511"/>
                  </a:lnTo>
                  <a:lnTo>
                    <a:pt x="512" y="497"/>
                  </a:lnTo>
                  <a:lnTo>
                    <a:pt x="492" y="491"/>
                  </a:lnTo>
                  <a:lnTo>
                    <a:pt x="482" y="497"/>
                  </a:lnTo>
                  <a:lnTo>
                    <a:pt x="458" y="497"/>
                  </a:lnTo>
                  <a:lnTo>
                    <a:pt x="458" y="507"/>
                  </a:lnTo>
                  <a:lnTo>
                    <a:pt x="444" y="511"/>
                  </a:lnTo>
                  <a:lnTo>
                    <a:pt x="434" y="503"/>
                  </a:lnTo>
                  <a:lnTo>
                    <a:pt x="414" y="507"/>
                  </a:lnTo>
                  <a:lnTo>
                    <a:pt x="400" y="519"/>
                  </a:lnTo>
                  <a:lnTo>
                    <a:pt x="400" y="529"/>
                  </a:lnTo>
                  <a:lnTo>
                    <a:pt x="380" y="533"/>
                  </a:lnTo>
                  <a:lnTo>
                    <a:pt x="380" y="515"/>
                  </a:lnTo>
                  <a:lnTo>
                    <a:pt x="364" y="509"/>
                  </a:lnTo>
                  <a:lnTo>
                    <a:pt x="354" y="495"/>
                  </a:lnTo>
                  <a:lnTo>
                    <a:pt x="340" y="507"/>
                  </a:lnTo>
                  <a:lnTo>
                    <a:pt x="336" y="519"/>
                  </a:lnTo>
                  <a:lnTo>
                    <a:pt x="328" y="519"/>
                  </a:lnTo>
                  <a:lnTo>
                    <a:pt x="326" y="509"/>
                  </a:lnTo>
                  <a:lnTo>
                    <a:pt x="314" y="509"/>
                  </a:lnTo>
                  <a:lnTo>
                    <a:pt x="314" y="497"/>
                  </a:lnTo>
                  <a:lnTo>
                    <a:pt x="304" y="495"/>
                  </a:lnTo>
                  <a:lnTo>
                    <a:pt x="296" y="483"/>
                  </a:lnTo>
                  <a:lnTo>
                    <a:pt x="296" y="477"/>
                  </a:lnTo>
                  <a:lnTo>
                    <a:pt x="288" y="471"/>
                  </a:lnTo>
                  <a:lnTo>
                    <a:pt x="274" y="469"/>
                  </a:lnTo>
                  <a:lnTo>
                    <a:pt x="260" y="465"/>
                  </a:lnTo>
                  <a:lnTo>
                    <a:pt x="246" y="471"/>
                  </a:lnTo>
                  <a:lnTo>
                    <a:pt x="240" y="461"/>
                  </a:lnTo>
                  <a:lnTo>
                    <a:pt x="234" y="459"/>
                  </a:lnTo>
                  <a:lnTo>
                    <a:pt x="234" y="455"/>
                  </a:lnTo>
                  <a:lnTo>
                    <a:pt x="240" y="451"/>
                  </a:lnTo>
                  <a:lnTo>
                    <a:pt x="240" y="441"/>
                  </a:lnTo>
                  <a:lnTo>
                    <a:pt x="232" y="447"/>
                  </a:lnTo>
                  <a:lnTo>
                    <a:pt x="218" y="447"/>
                  </a:lnTo>
                  <a:lnTo>
                    <a:pt x="210" y="441"/>
                  </a:lnTo>
                  <a:lnTo>
                    <a:pt x="196" y="433"/>
                  </a:lnTo>
                  <a:lnTo>
                    <a:pt x="188" y="433"/>
                  </a:lnTo>
                  <a:lnTo>
                    <a:pt x="188" y="441"/>
                  </a:lnTo>
                  <a:lnTo>
                    <a:pt x="196" y="449"/>
                  </a:lnTo>
                  <a:lnTo>
                    <a:pt x="172" y="467"/>
                  </a:lnTo>
                  <a:lnTo>
                    <a:pt x="164" y="459"/>
                  </a:lnTo>
                  <a:lnTo>
                    <a:pt x="164" y="455"/>
                  </a:lnTo>
                  <a:lnTo>
                    <a:pt x="154" y="447"/>
                  </a:lnTo>
                  <a:lnTo>
                    <a:pt x="142" y="439"/>
                  </a:lnTo>
                  <a:lnTo>
                    <a:pt x="156" y="423"/>
                  </a:lnTo>
                  <a:lnTo>
                    <a:pt x="150" y="415"/>
                  </a:lnTo>
                  <a:lnTo>
                    <a:pt x="140" y="417"/>
                  </a:lnTo>
                  <a:lnTo>
                    <a:pt x="130" y="419"/>
                  </a:lnTo>
                  <a:lnTo>
                    <a:pt x="126" y="415"/>
                  </a:lnTo>
                  <a:lnTo>
                    <a:pt x="118" y="411"/>
                  </a:lnTo>
                  <a:lnTo>
                    <a:pt x="92" y="407"/>
                  </a:lnTo>
                  <a:lnTo>
                    <a:pt x="82" y="399"/>
                  </a:lnTo>
                  <a:lnTo>
                    <a:pt x="82" y="393"/>
                  </a:lnTo>
                  <a:lnTo>
                    <a:pt x="76" y="387"/>
                  </a:lnTo>
                  <a:lnTo>
                    <a:pt x="60" y="389"/>
                  </a:lnTo>
                  <a:lnTo>
                    <a:pt x="66" y="363"/>
                  </a:lnTo>
                  <a:lnTo>
                    <a:pt x="58" y="347"/>
                  </a:lnTo>
                  <a:lnTo>
                    <a:pt x="46" y="341"/>
                  </a:lnTo>
                  <a:lnTo>
                    <a:pt x="44" y="327"/>
                  </a:lnTo>
                  <a:lnTo>
                    <a:pt x="36" y="313"/>
                  </a:lnTo>
                  <a:lnTo>
                    <a:pt x="44" y="303"/>
                  </a:lnTo>
                  <a:lnTo>
                    <a:pt x="40" y="281"/>
                  </a:lnTo>
                  <a:lnTo>
                    <a:pt x="40" y="271"/>
                  </a:lnTo>
                  <a:lnTo>
                    <a:pt x="30" y="267"/>
                  </a:lnTo>
                  <a:lnTo>
                    <a:pt x="30" y="257"/>
                  </a:lnTo>
                  <a:lnTo>
                    <a:pt x="34" y="251"/>
                  </a:lnTo>
                  <a:lnTo>
                    <a:pt x="34" y="241"/>
                  </a:lnTo>
                  <a:lnTo>
                    <a:pt x="18" y="229"/>
                  </a:lnTo>
                  <a:lnTo>
                    <a:pt x="4" y="217"/>
                  </a:lnTo>
                  <a:lnTo>
                    <a:pt x="0" y="205"/>
                  </a:lnTo>
                  <a:lnTo>
                    <a:pt x="12" y="195"/>
                  </a:lnTo>
                  <a:lnTo>
                    <a:pt x="12" y="185"/>
                  </a:lnTo>
                  <a:lnTo>
                    <a:pt x="16" y="169"/>
                  </a:lnTo>
                  <a:lnTo>
                    <a:pt x="2" y="126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E29815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0" name="Freeform 5"/>
            <p:cNvSpPr>
              <a:spLocks/>
            </p:cNvSpPr>
            <p:nvPr/>
          </p:nvSpPr>
          <p:spPr bwMode="gray">
            <a:xfrm>
              <a:off x="1907250" y="3740049"/>
              <a:ext cx="614163" cy="774600"/>
            </a:xfrm>
            <a:custGeom>
              <a:avLst/>
              <a:gdLst>
                <a:gd name="T0" fmla="*/ 104 w 561"/>
                <a:gd name="T1" fmla="*/ 637 h 743"/>
                <a:gd name="T2" fmla="*/ 90 w 561"/>
                <a:gd name="T3" fmla="*/ 561 h 743"/>
                <a:gd name="T4" fmla="*/ 48 w 561"/>
                <a:gd name="T5" fmla="*/ 557 h 743"/>
                <a:gd name="T6" fmla="*/ 26 w 561"/>
                <a:gd name="T7" fmla="*/ 507 h 743"/>
                <a:gd name="T8" fmla="*/ 10 w 561"/>
                <a:gd name="T9" fmla="*/ 477 h 743"/>
                <a:gd name="T10" fmla="*/ 18 w 561"/>
                <a:gd name="T11" fmla="*/ 413 h 743"/>
                <a:gd name="T12" fmla="*/ 14 w 561"/>
                <a:gd name="T13" fmla="*/ 363 h 743"/>
                <a:gd name="T14" fmla="*/ 10 w 561"/>
                <a:gd name="T15" fmla="*/ 293 h 743"/>
                <a:gd name="T16" fmla="*/ 54 w 561"/>
                <a:gd name="T17" fmla="*/ 275 h 743"/>
                <a:gd name="T18" fmla="*/ 60 w 561"/>
                <a:gd name="T19" fmla="*/ 219 h 743"/>
                <a:gd name="T20" fmla="*/ 92 w 561"/>
                <a:gd name="T21" fmla="*/ 159 h 743"/>
                <a:gd name="T22" fmla="*/ 82 w 561"/>
                <a:gd name="T23" fmla="*/ 133 h 743"/>
                <a:gd name="T24" fmla="*/ 122 w 561"/>
                <a:gd name="T25" fmla="*/ 119 h 743"/>
                <a:gd name="T26" fmla="*/ 146 w 561"/>
                <a:gd name="T27" fmla="*/ 149 h 743"/>
                <a:gd name="T28" fmla="*/ 156 w 561"/>
                <a:gd name="T29" fmla="*/ 131 h 743"/>
                <a:gd name="T30" fmla="*/ 170 w 561"/>
                <a:gd name="T31" fmla="*/ 104 h 743"/>
                <a:gd name="T32" fmla="*/ 194 w 561"/>
                <a:gd name="T33" fmla="*/ 106 h 743"/>
                <a:gd name="T34" fmla="*/ 186 w 561"/>
                <a:gd name="T35" fmla="*/ 88 h 743"/>
                <a:gd name="T36" fmla="*/ 184 w 561"/>
                <a:gd name="T37" fmla="*/ 64 h 743"/>
                <a:gd name="T38" fmla="*/ 192 w 561"/>
                <a:gd name="T39" fmla="*/ 40 h 743"/>
                <a:gd name="T40" fmla="*/ 174 w 561"/>
                <a:gd name="T41" fmla="*/ 0 h 743"/>
                <a:gd name="T42" fmla="*/ 227 w 561"/>
                <a:gd name="T43" fmla="*/ 2 h 743"/>
                <a:gd name="T44" fmla="*/ 253 w 561"/>
                <a:gd name="T45" fmla="*/ 40 h 743"/>
                <a:gd name="T46" fmla="*/ 289 w 561"/>
                <a:gd name="T47" fmla="*/ 60 h 743"/>
                <a:gd name="T48" fmla="*/ 315 w 561"/>
                <a:gd name="T49" fmla="*/ 38 h 743"/>
                <a:gd name="T50" fmla="*/ 315 w 561"/>
                <a:gd name="T51" fmla="*/ 52 h 743"/>
                <a:gd name="T52" fmla="*/ 305 w 561"/>
                <a:gd name="T53" fmla="*/ 94 h 743"/>
                <a:gd name="T54" fmla="*/ 349 w 561"/>
                <a:gd name="T55" fmla="*/ 74 h 743"/>
                <a:gd name="T56" fmla="*/ 409 w 561"/>
                <a:gd name="T57" fmla="*/ 46 h 743"/>
                <a:gd name="T58" fmla="*/ 443 w 561"/>
                <a:gd name="T59" fmla="*/ 70 h 743"/>
                <a:gd name="T60" fmla="*/ 473 w 561"/>
                <a:gd name="T61" fmla="*/ 90 h 743"/>
                <a:gd name="T62" fmla="*/ 501 w 561"/>
                <a:gd name="T63" fmla="*/ 123 h 743"/>
                <a:gd name="T64" fmla="*/ 499 w 561"/>
                <a:gd name="T65" fmla="*/ 199 h 743"/>
                <a:gd name="T66" fmla="*/ 525 w 561"/>
                <a:gd name="T67" fmla="*/ 249 h 743"/>
                <a:gd name="T68" fmla="*/ 539 w 561"/>
                <a:gd name="T69" fmla="*/ 309 h 743"/>
                <a:gd name="T70" fmla="*/ 555 w 561"/>
                <a:gd name="T71" fmla="*/ 369 h 743"/>
                <a:gd name="T72" fmla="*/ 533 w 561"/>
                <a:gd name="T73" fmla="*/ 373 h 743"/>
                <a:gd name="T74" fmla="*/ 507 w 561"/>
                <a:gd name="T75" fmla="*/ 393 h 743"/>
                <a:gd name="T76" fmla="*/ 455 w 561"/>
                <a:gd name="T77" fmla="*/ 415 h 743"/>
                <a:gd name="T78" fmla="*/ 405 w 561"/>
                <a:gd name="T79" fmla="*/ 445 h 743"/>
                <a:gd name="T80" fmla="*/ 389 w 561"/>
                <a:gd name="T81" fmla="*/ 467 h 743"/>
                <a:gd name="T82" fmla="*/ 413 w 561"/>
                <a:gd name="T83" fmla="*/ 509 h 743"/>
                <a:gd name="T84" fmla="*/ 459 w 561"/>
                <a:gd name="T85" fmla="*/ 561 h 743"/>
                <a:gd name="T86" fmla="*/ 471 w 561"/>
                <a:gd name="T87" fmla="*/ 573 h 743"/>
                <a:gd name="T88" fmla="*/ 475 w 561"/>
                <a:gd name="T89" fmla="*/ 611 h 743"/>
                <a:gd name="T90" fmla="*/ 451 w 561"/>
                <a:gd name="T91" fmla="*/ 683 h 743"/>
                <a:gd name="T92" fmla="*/ 457 w 561"/>
                <a:gd name="T93" fmla="*/ 709 h 743"/>
                <a:gd name="T94" fmla="*/ 419 w 561"/>
                <a:gd name="T95" fmla="*/ 707 h 743"/>
                <a:gd name="T96" fmla="*/ 347 w 561"/>
                <a:gd name="T97" fmla="*/ 723 h 743"/>
                <a:gd name="T98" fmla="*/ 269 w 561"/>
                <a:gd name="T99" fmla="*/ 743 h 743"/>
                <a:gd name="T100" fmla="*/ 233 w 561"/>
                <a:gd name="T101" fmla="*/ 725 h 743"/>
                <a:gd name="T102" fmla="*/ 172 w 561"/>
                <a:gd name="T103" fmla="*/ 699 h 743"/>
                <a:gd name="T104" fmla="*/ 138 w 561"/>
                <a:gd name="T105" fmla="*/ 707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1" h="743">
                  <a:moveTo>
                    <a:pt x="92" y="707"/>
                  </a:moveTo>
                  <a:lnTo>
                    <a:pt x="90" y="685"/>
                  </a:lnTo>
                  <a:lnTo>
                    <a:pt x="98" y="671"/>
                  </a:lnTo>
                  <a:lnTo>
                    <a:pt x="94" y="661"/>
                  </a:lnTo>
                  <a:lnTo>
                    <a:pt x="104" y="637"/>
                  </a:lnTo>
                  <a:lnTo>
                    <a:pt x="110" y="611"/>
                  </a:lnTo>
                  <a:lnTo>
                    <a:pt x="138" y="579"/>
                  </a:lnTo>
                  <a:lnTo>
                    <a:pt x="120" y="571"/>
                  </a:lnTo>
                  <a:lnTo>
                    <a:pt x="98" y="569"/>
                  </a:lnTo>
                  <a:lnTo>
                    <a:pt x="90" y="561"/>
                  </a:lnTo>
                  <a:lnTo>
                    <a:pt x="74" y="563"/>
                  </a:lnTo>
                  <a:lnTo>
                    <a:pt x="62" y="561"/>
                  </a:lnTo>
                  <a:lnTo>
                    <a:pt x="60" y="555"/>
                  </a:lnTo>
                  <a:lnTo>
                    <a:pt x="50" y="551"/>
                  </a:lnTo>
                  <a:lnTo>
                    <a:pt x="48" y="557"/>
                  </a:lnTo>
                  <a:lnTo>
                    <a:pt x="34" y="541"/>
                  </a:lnTo>
                  <a:lnTo>
                    <a:pt x="32" y="529"/>
                  </a:lnTo>
                  <a:lnTo>
                    <a:pt x="20" y="523"/>
                  </a:lnTo>
                  <a:lnTo>
                    <a:pt x="22" y="513"/>
                  </a:lnTo>
                  <a:lnTo>
                    <a:pt x="26" y="507"/>
                  </a:lnTo>
                  <a:lnTo>
                    <a:pt x="32" y="501"/>
                  </a:lnTo>
                  <a:lnTo>
                    <a:pt x="30" y="495"/>
                  </a:lnTo>
                  <a:lnTo>
                    <a:pt x="24" y="491"/>
                  </a:lnTo>
                  <a:lnTo>
                    <a:pt x="16" y="485"/>
                  </a:lnTo>
                  <a:lnTo>
                    <a:pt x="10" y="477"/>
                  </a:lnTo>
                  <a:lnTo>
                    <a:pt x="10" y="457"/>
                  </a:lnTo>
                  <a:lnTo>
                    <a:pt x="26" y="445"/>
                  </a:lnTo>
                  <a:lnTo>
                    <a:pt x="26" y="429"/>
                  </a:lnTo>
                  <a:lnTo>
                    <a:pt x="14" y="423"/>
                  </a:lnTo>
                  <a:lnTo>
                    <a:pt x="18" y="413"/>
                  </a:lnTo>
                  <a:lnTo>
                    <a:pt x="6" y="399"/>
                  </a:lnTo>
                  <a:lnTo>
                    <a:pt x="10" y="385"/>
                  </a:lnTo>
                  <a:lnTo>
                    <a:pt x="4" y="379"/>
                  </a:lnTo>
                  <a:lnTo>
                    <a:pt x="0" y="373"/>
                  </a:lnTo>
                  <a:lnTo>
                    <a:pt x="14" y="363"/>
                  </a:lnTo>
                  <a:lnTo>
                    <a:pt x="12" y="355"/>
                  </a:lnTo>
                  <a:lnTo>
                    <a:pt x="22" y="343"/>
                  </a:lnTo>
                  <a:lnTo>
                    <a:pt x="22" y="325"/>
                  </a:lnTo>
                  <a:lnTo>
                    <a:pt x="12" y="315"/>
                  </a:lnTo>
                  <a:lnTo>
                    <a:pt x="10" y="293"/>
                  </a:lnTo>
                  <a:lnTo>
                    <a:pt x="20" y="291"/>
                  </a:lnTo>
                  <a:lnTo>
                    <a:pt x="44" y="293"/>
                  </a:lnTo>
                  <a:lnTo>
                    <a:pt x="56" y="291"/>
                  </a:lnTo>
                  <a:lnTo>
                    <a:pt x="60" y="285"/>
                  </a:lnTo>
                  <a:lnTo>
                    <a:pt x="54" y="275"/>
                  </a:lnTo>
                  <a:lnTo>
                    <a:pt x="62" y="271"/>
                  </a:lnTo>
                  <a:lnTo>
                    <a:pt x="72" y="259"/>
                  </a:lnTo>
                  <a:lnTo>
                    <a:pt x="74" y="243"/>
                  </a:lnTo>
                  <a:lnTo>
                    <a:pt x="56" y="235"/>
                  </a:lnTo>
                  <a:lnTo>
                    <a:pt x="60" y="219"/>
                  </a:lnTo>
                  <a:lnTo>
                    <a:pt x="78" y="219"/>
                  </a:lnTo>
                  <a:lnTo>
                    <a:pt x="78" y="203"/>
                  </a:lnTo>
                  <a:lnTo>
                    <a:pt x="86" y="191"/>
                  </a:lnTo>
                  <a:lnTo>
                    <a:pt x="86" y="163"/>
                  </a:lnTo>
                  <a:lnTo>
                    <a:pt x="92" y="159"/>
                  </a:lnTo>
                  <a:lnTo>
                    <a:pt x="90" y="153"/>
                  </a:lnTo>
                  <a:lnTo>
                    <a:pt x="86" y="153"/>
                  </a:lnTo>
                  <a:lnTo>
                    <a:pt x="80" y="151"/>
                  </a:lnTo>
                  <a:lnTo>
                    <a:pt x="80" y="141"/>
                  </a:lnTo>
                  <a:lnTo>
                    <a:pt x="82" y="133"/>
                  </a:lnTo>
                  <a:lnTo>
                    <a:pt x="86" y="127"/>
                  </a:lnTo>
                  <a:lnTo>
                    <a:pt x="92" y="121"/>
                  </a:lnTo>
                  <a:lnTo>
                    <a:pt x="100" y="119"/>
                  </a:lnTo>
                  <a:lnTo>
                    <a:pt x="112" y="121"/>
                  </a:lnTo>
                  <a:lnTo>
                    <a:pt x="122" y="119"/>
                  </a:lnTo>
                  <a:lnTo>
                    <a:pt x="136" y="119"/>
                  </a:lnTo>
                  <a:lnTo>
                    <a:pt x="140" y="127"/>
                  </a:lnTo>
                  <a:lnTo>
                    <a:pt x="142" y="135"/>
                  </a:lnTo>
                  <a:lnTo>
                    <a:pt x="138" y="143"/>
                  </a:lnTo>
                  <a:lnTo>
                    <a:pt x="146" y="149"/>
                  </a:lnTo>
                  <a:lnTo>
                    <a:pt x="152" y="145"/>
                  </a:lnTo>
                  <a:lnTo>
                    <a:pt x="152" y="137"/>
                  </a:lnTo>
                  <a:lnTo>
                    <a:pt x="150" y="133"/>
                  </a:lnTo>
                  <a:lnTo>
                    <a:pt x="152" y="129"/>
                  </a:lnTo>
                  <a:lnTo>
                    <a:pt x="156" y="131"/>
                  </a:lnTo>
                  <a:lnTo>
                    <a:pt x="162" y="135"/>
                  </a:lnTo>
                  <a:lnTo>
                    <a:pt x="168" y="139"/>
                  </a:lnTo>
                  <a:lnTo>
                    <a:pt x="166" y="123"/>
                  </a:lnTo>
                  <a:lnTo>
                    <a:pt x="166" y="115"/>
                  </a:lnTo>
                  <a:lnTo>
                    <a:pt x="170" y="104"/>
                  </a:lnTo>
                  <a:lnTo>
                    <a:pt x="174" y="100"/>
                  </a:lnTo>
                  <a:lnTo>
                    <a:pt x="180" y="106"/>
                  </a:lnTo>
                  <a:lnTo>
                    <a:pt x="186" y="108"/>
                  </a:lnTo>
                  <a:lnTo>
                    <a:pt x="192" y="111"/>
                  </a:lnTo>
                  <a:lnTo>
                    <a:pt x="194" y="106"/>
                  </a:lnTo>
                  <a:lnTo>
                    <a:pt x="198" y="104"/>
                  </a:lnTo>
                  <a:lnTo>
                    <a:pt x="194" y="100"/>
                  </a:lnTo>
                  <a:lnTo>
                    <a:pt x="190" y="98"/>
                  </a:lnTo>
                  <a:lnTo>
                    <a:pt x="186" y="94"/>
                  </a:lnTo>
                  <a:lnTo>
                    <a:pt x="186" y="88"/>
                  </a:lnTo>
                  <a:lnTo>
                    <a:pt x="190" y="88"/>
                  </a:lnTo>
                  <a:lnTo>
                    <a:pt x="194" y="86"/>
                  </a:lnTo>
                  <a:lnTo>
                    <a:pt x="194" y="78"/>
                  </a:lnTo>
                  <a:lnTo>
                    <a:pt x="184" y="76"/>
                  </a:lnTo>
                  <a:lnTo>
                    <a:pt x="184" y="64"/>
                  </a:lnTo>
                  <a:lnTo>
                    <a:pt x="172" y="62"/>
                  </a:lnTo>
                  <a:lnTo>
                    <a:pt x="172" y="54"/>
                  </a:lnTo>
                  <a:lnTo>
                    <a:pt x="178" y="50"/>
                  </a:lnTo>
                  <a:lnTo>
                    <a:pt x="190" y="50"/>
                  </a:lnTo>
                  <a:lnTo>
                    <a:pt x="192" y="40"/>
                  </a:lnTo>
                  <a:lnTo>
                    <a:pt x="188" y="30"/>
                  </a:lnTo>
                  <a:lnTo>
                    <a:pt x="180" y="20"/>
                  </a:lnTo>
                  <a:lnTo>
                    <a:pt x="174" y="14"/>
                  </a:lnTo>
                  <a:lnTo>
                    <a:pt x="172" y="6"/>
                  </a:lnTo>
                  <a:lnTo>
                    <a:pt x="174" y="0"/>
                  </a:lnTo>
                  <a:lnTo>
                    <a:pt x="190" y="2"/>
                  </a:lnTo>
                  <a:lnTo>
                    <a:pt x="202" y="6"/>
                  </a:lnTo>
                  <a:lnTo>
                    <a:pt x="211" y="12"/>
                  </a:lnTo>
                  <a:lnTo>
                    <a:pt x="221" y="12"/>
                  </a:lnTo>
                  <a:lnTo>
                    <a:pt x="227" y="2"/>
                  </a:lnTo>
                  <a:lnTo>
                    <a:pt x="237" y="10"/>
                  </a:lnTo>
                  <a:lnTo>
                    <a:pt x="247" y="12"/>
                  </a:lnTo>
                  <a:lnTo>
                    <a:pt x="251" y="14"/>
                  </a:lnTo>
                  <a:lnTo>
                    <a:pt x="253" y="24"/>
                  </a:lnTo>
                  <a:lnTo>
                    <a:pt x="253" y="40"/>
                  </a:lnTo>
                  <a:lnTo>
                    <a:pt x="253" y="44"/>
                  </a:lnTo>
                  <a:lnTo>
                    <a:pt x="261" y="44"/>
                  </a:lnTo>
                  <a:lnTo>
                    <a:pt x="265" y="52"/>
                  </a:lnTo>
                  <a:lnTo>
                    <a:pt x="275" y="50"/>
                  </a:lnTo>
                  <a:lnTo>
                    <a:pt x="289" y="60"/>
                  </a:lnTo>
                  <a:lnTo>
                    <a:pt x="303" y="56"/>
                  </a:lnTo>
                  <a:lnTo>
                    <a:pt x="313" y="50"/>
                  </a:lnTo>
                  <a:lnTo>
                    <a:pt x="311" y="46"/>
                  </a:lnTo>
                  <a:lnTo>
                    <a:pt x="311" y="42"/>
                  </a:lnTo>
                  <a:lnTo>
                    <a:pt x="315" y="38"/>
                  </a:lnTo>
                  <a:lnTo>
                    <a:pt x="319" y="40"/>
                  </a:lnTo>
                  <a:lnTo>
                    <a:pt x="323" y="44"/>
                  </a:lnTo>
                  <a:lnTo>
                    <a:pt x="325" y="50"/>
                  </a:lnTo>
                  <a:lnTo>
                    <a:pt x="323" y="52"/>
                  </a:lnTo>
                  <a:lnTo>
                    <a:pt x="315" y="52"/>
                  </a:lnTo>
                  <a:lnTo>
                    <a:pt x="313" y="70"/>
                  </a:lnTo>
                  <a:lnTo>
                    <a:pt x="305" y="80"/>
                  </a:lnTo>
                  <a:lnTo>
                    <a:pt x="295" y="84"/>
                  </a:lnTo>
                  <a:lnTo>
                    <a:pt x="299" y="90"/>
                  </a:lnTo>
                  <a:lnTo>
                    <a:pt x="305" y="94"/>
                  </a:lnTo>
                  <a:lnTo>
                    <a:pt x="319" y="92"/>
                  </a:lnTo>
                  <a:lnTo>
                    <a:pt x="325" y="96"/>
                  </a:lnTo>
                  <a:lnTo>
                    <a:pt x="337" y="96"/>
                  </a:lnTo>
                  <a:lnTo>
                    <a:pt x="341" y="82"/>
                  </a:lnTo>
                  <a:lnTo>
                    <a:pt x="349" y="74"/>
                  </a:lnTo>
                  <a:lnTo>
                    <a:pt x="369" y="72"/>
                  </a:lnTo>
                  <a:lnTo>
                    <a:pt x="385" y="62"/>
                  </a:lnTo>
                  <a:lnTo>
                    <a:pt x="391" y="52"/>
                  </a:lnTo>
                  <a:lnTo>
                    <a:pt x="395" y="44"/>
                  </a:lnTo>
                  <a:lnTo>
                    <a:pt x="409" y="46"/>
                  </a:lnTo>
                  <a:lnTo>
                    <a:pt x="421" y="50"/>
                  </a:lnTo>
                  <a:lnTo>
                    <a:pt x="429" y="52"/>
                  </a:lnTo>
                  <a:lnTo>
                    <a:pt x="431" y="60"/>
                  </a:lnTo>
                  <a:lnTo>
                    <a:pt x="443" y="64"/>
                  </a:lnTo>
                  <a:lnTo>
                    <a:pt x="443" y="70"/>
                  </a:lnTo>
                  <a:lnTo>
                    <a:pt x="451" y="76"/>
                  </a:lnTo>
                  <a:lnTo>
                    <a:pt x="467" y="68"/>
                  </a:lnTo>
                  <a:lnTo>
                    <a:pt x="471" y="72"/>
                  </a:lnTo>
                  <a:lnTo>
                    <a:pt x="473" y="82"/>
                  </a:lnTo>
                  <a:lnTo>
                    <a:pt x="473" y="90"/>
                  </a:lnTo>
                  <a:lnTo>
                    <a:pt x="485" y="90"/>
                  </a:lnTo>
                  <a:lnTo>
                    <a:pt x="491" y="88"/>
                  </a:lnTo>
                  <a:lnTo>
                    <a:pt x="495" y="96"/>
                  </a:lnTo>
                  <a:lnTo>
                    <a:pt x="497" y="108"/>
                  </a:lnTo>
                  <a:lnTo>
                    <a:pt x="501" y="123"/>
                  </a:lnTo>
                  <a:lnTo>
                    <a:pt x="511" y="151"/>
                  </a:lnTo>
                  <a:lnTo>
                    <a:pt x="507" y="169"/>
                  </a:lnTo>
                  <a:lnTo>
                    <a:pt x="507" y="177"/>
                  </a:lnTo>
                  <a:lnTo>
                    <a:pt x="495" y="187"/>
                  </a:lnTo>
                  <a:lnTo>
                    <a:pt x="499" y="199"/>
                  </a:lnTo>
                  <a:lnTo>
                    <a:pt x="513" y="211"/>
                  </a:lnTo>
                  <a:lnTo>
                    <a:pt x="529" y="223"/>
                  </a:lnTo>
                  <a:lnTo>
                    <a:pt x="529" y="233"/>
                  </a:lnTo>
                  <a:lnTo>
                    <a:pt x="525" y="239"/>
                  </a:lnTo>
                  <a:lnTo>
                    <a:pt x="525" y="249"/>
                  </a:lnTo>
                  <a:lnTo>
                    <a:pt x="535" y="253"/>
                  </a:lnTo>
                  <a:lnTo>
                    <a:pt x="535" y="271"/>
                  </a:lnTo>
                  <a:lnTo>
                    <a:pt x="539" y="285"/>
                  </a:lnTo>
                  <a:lnTo>
                    <a:pt x="531" y="295"/>
                  </a:lnTo>
                  <a:lnTo>
                    <a:pt x="539" y="309"/>
                  </a:lnTo>
                  <a:lnTo>
                    <a:pt x="541" y="323"/>
                  </a:lnTo>
                  <a:lnTo>
                    <a:pt x="553" y="329"/>
                  </a:lnTo>
                  <a:lnTo>
                    <a:pt x="561" y="345"/>
                  </a:lnTo>
                  <a:lnTo>
                    <a:pt x="557" y="357"/>
                  </a:lnTo>
                  <a:lnTo>
                    <a:pt x="555" y="369"/>
                  </a:lnTo>
                  <a:lnTo>
                    <a:pt x="553" y="379"/>
                  </a:lnTo>
                  <a:lnTo>
                    <a:pt x="547" y="389"/>
                  </a:lnTo>
                  <a:lnTo>
                    <a:pt x="541" y="391"/>
                  </a:lnTo>
                  <a:lnTo>
                    <a:pt x="537" y="385"/>
                  </a:lnTo>
                  <a:lnTo>
                    <a:pt x="533" y="373"/>
                  </a:lnTo>
                  <a:lnTo>
                    <a:pt x="527" y="369"/>
                  </a:lnTo>
                  <a:lnTo>
                    <a:pt x="513" y="373"/>
                  </a:lnTo>
                  <a:lnTo>
                    <a:pt x="521" y="383"/>
                  </a:lnTo>
                  <a:lnTo>
                    <a:pt x="517" y="385"/>
                  </a:lnTo>
                  <a:lnTo>
                    <a:pt x="507" y="393"/>
                  </a:lnTo>
                  <a:lnTo>
                    <a:pt x="495" y="395"/>
                  </a:lnTo>
                  <a:lnTo>
                    <a:pt x="491" y="403"/>
                  </a:lnTo>
                  <a:lnTo>
                    <a:pt x="475" y="403"/>
                  </a:lnTo>
                  <a:lnTo>
                    <a:pt x="467" y="415"/>
                  </a:lnTo>
                  <a:lnTo>
                    <a:pt x="455" y="415"/>
                  </a:lnTo>
                  <a:lnTo>
                    <a:pt x="445" y="425"/>
                  </a:lnTo>
                  <a:lnTo>
                    <a:pt x="437" y="433"/>
                  </a:lnTo>
                  <a:lnTo>
                    <a:pt x="425" y="433"/>
                  </a:lnTo>
                  <a:lnTo>
                    <a:pt x="411" y="437"/>
                  </a:lnTo>
                  <a:lnTo>
                    <a:pt x="405" y="445"/>
                  </a:lnTo>
                  <a:lnTo>
                    <a:pt x="399" y="459"/>
                  </a:lnTo>
                  <a:lnTo>
                    <a:pt x="393" y="449"/>
                  </a:lnTo>
                  <a:lnTo>
                    <a:pt x="385" y="447"/>
                  </a:lnTo>
                  <a:lnTo>
                    <a:pt x="387" y="455"/>
                  </a:lnTo>
                  <a:lnTo>
                    <a:pt x="389" y="467"/>
                  </a:lnTo>
                  <a:lnTo>
                    <a:pt x="397" y="475"/>
                  </a:lnTo>
                  <a:lnTo>
                    <a:pt x="409" y="481"/>
                  </a:lnTo>
                  <a:lnTo>
                    <a:pt x="411" y="493"/>
                  </a:lnTo>
                  <a:lnTo>
                    <a:pt x="405" y="503"/>
                  </a:lnTo>
                  <a:lnTo>
                    <a:pt x="413" y="509"/>
                  </a:lnTo>
                  <a:lnTo>
                    <a:pt x="417" y="521"/>
                  </a:lnTo>
                  <a:lnTo>
                    <a:pt x="431" y="541"/>
                  </a:lnTo>
                  <a:lnTo>
                    <a:pt x="443" y="541"/>
                  </a:lnTo>
                  <a:lnTo>
                    <a:pt x="453" y="553"/>
                  </a:lnTo>
                  <a:lnTo>
                    <a:pt x="459" y="561"/>
                  </a:lnTo>
                  <a:lnTo>
                    <a:pt x="463" y="561"/>
                  </a:lnTo>
                  <a:lnTo>
                    <a:pt x="471" y="567"/>
                  </a:lnTo>
                  <a:lnTo>
                    <a:pt x="469" y="571"/>
                  </a:lnTo>
                  <a:lnTo>
                    <a:pt x="469" y="573"/>
                  </a:lnTo>
                  <a:lnTo>
                    <a:pt x="471" y="573"/>
                  </a:lnTo>
                  <a:lnTo>
                    <a:pt x="483" y="575"/>
                  </a:lnTo>
                  <a:lnTo>
                    <a:pt x="495" y="583"/>
                  </a:lnTo>
                  <a:lnTo>
                    <a:pt x="499" y="591"/>
                  </a:lnTo>
                  <a:lnTo>
                    <a:pt x="497" y="611"/>
                  </a:lnTo>
                  <a:lnTo>
                    <a:pt x="475" y="611"/>
                  </a:lnTo>
                  <a:lnTo>
                    <a:pt x="477" y="629"/>
                  </a:lnTo>
                  <a:lnTo>
                    <a:pt x="469" y="637"/>
                  </a:lnTo>
                  <a:lnTo>
                    <a:pt x="455" y="639"/>
                  </a:lnTo>
                  <a:lnTo>
                    <a:pt x="433" y="657"/>
                  </a:lnTo>
                  <a:lnTo>
                    <a:pt x="451" y="683"/>
                  </a:lnTo>
                  <a:lnTo>
                    <a:pt x="447" y="691"/>
                  </a:lnTo>
                  <a:lnTo>
                    <a:pt x="447" y="695"/>
                  </a:lnTo>
                  <a:lnTo>
                    <a:pt x="453" y="695"/>
                  </a:lnTo>
                  <a:lnTo>
                    <a:pt x="457" y="701"/>
                  </a:lnTo>
                  <a:lnTo>
                    <a:pt x="457" y="709"/>
                  </a:lnTo>
                  <a:lnTo>
                    <a:pt x="449" y="719"/>
                  </a:lnTo>
                  <a:lnTo>
                    <a:pt x="439" y="713"/>
                  </a:lnTo>
                  <a:lnTo>
                    <a:pt x="439" y="705"/>
                  </a:lnTo>
                  <a:lnTo>
                    <a:pt x="431" y="699"/>
                  </a:lnTo>
                  <a:lnTo>
                    <a:pt x="419" y="707"/>
                  </a:lnTo>
                  <a:lnTo>
                    <a:pt x="415" y="699"/>
                  </a:lnTo>
                  <a:lnTo>
                    <a:pt x="397" y="699"/>
                  </a:lnTo>
                  <a:lnTo>
                    <a:pt x="397" y="709"/>
                  </a:lnTo>
                  <a:lnTo>
                    <a:pt x="361" y="711"/>
                  </a:lnTo>
                  <a:lnTo>
                    <a:pt x="347" y="723"/>
                  </a:lnTo>
                  <a:lnTo>
                    <a:pt x="327" y="733"/>
                  </a:lnTo>
                  <a:lnTo>
                    <a:pt x="311" y="717"/>
                  </a:lnTo>
                  <a:lnTo>
                    <a:pt x="283" y="717"/>
                  </a:lnTo>
                  <a:lnTo>
                    <a:pt x="283" y="733"/>
                  </a:lnTo>
                  <a:lnTo>
                    <a:pt x="269" y="743"/>
                  </a:lnTo>
                  <a:lnTo>
                    <a:pt x="265" y="737"/>
                  </a:lnTo>
                  <a:lnTo>
                    <a:pt x="259" y="735"/>
                  </a:lnTo>
                  <a:lnTo>
                    <a:pt x="257" y="725"/>
                  </a:lnTo>
                  <a:lnTo>
                    <a:pt x="241" y="713"/>
                  </a:lnTo>
                  <a:lnTo>
                    <a:pt x="233" y="725"/>
                  </a:lnTo>
                  <a:lnTo>
                    <a:pt x="217" y="719"/>
                  </a:lnTo>
                  <a:lnTo>
                    <a:pt x="206" y="709"/>
                  </a:lnTo>
                  <a:lnTo>
                    <a:pt x="194" y="701"/>
                  </a:lnTo>
                  <a:lnTo>
                    <a:pt x="180" y="707"/>
                  </a:lnTo>
                  <a:lnTo>
                    <a:pt x="172" y="699"/>
                  </a:lnTo>
                  <a:lnTo>
                    <a:pt x="160" y="691"/>
                  </a:lnTo>
                  <a:lnTo>
                    <a:pt x="148" y="699"/>
                  </a:lnTo>
                  <a:lnTo>
                    <a:pt x="158" y="711"/>
                  </a:lnTo>
                  <a:lnTo>
                    <a:pt x="148" y="715"/>
                  </a:lnTo>
                  <a:lnTo>
                    <a:pt x="138" y="707"/>
                  </a:lnTo>
                  <a:lnTo>
                    <a:pt x="124" y="717"/>
                  </a:lnTo>
                  <a:lnTo>
                    <a:pt x="110" y="707"/>
                  </a:lnTo>
                  <a:lnTo>
                    <a:pt x="102" y="717"/>
                  </a:lnTo>
                  <a:lnTo>
                    <a:pt x="92" y="707"/>
                  </a:lnTo>
                  <a:close/>
                </a:path>
              </a:pathLst>
            </a:custGeom>
            <a:solidFill>
              <a:srgbClr val="7030A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1" name="Freeform 6"/>
            <p:cNvSpPr>
              <a:spLocks/>
            </p:cNvSpPr>
            <p:nvPr/>
          </p:nvSpPr>
          <p:spPr bwMode="gray">
            <a:xfrm>
              <a:off x="3354935" y="4248581"/>
              <a:ext cx="297046" cy="283619"/>
            </a:xfrm>
            <a:custGeom>
              <a:avLst/>
              <a:gdLst>
                <a:gd name="T0" fmla="*/ 168 w 270"/>
                <a:gd name="T1" fmla="*/ 272 h 272"/>
                <a:gd name="T2" fmla="*/ 160 w 270"/>
                <a:gd name="T3" fmla="*/ 268 h 272"/>
                <a:gd name="T4" fmla="*/ 158 w 270"/>
                <a:gd name="T5" fmla="*/ 256 h 272"/>
                <a:gd name="T6" fmla="*/ 152 w 270"/>
                <a:gd name="T7" fmla="*/ 242 h 272"/>
                <a:gd name="T8" fmla="*/ 146 w 270"/>
                <a:gd name="T9" fmla="*/ 224 h 272"/>
                <a:gd name="T10" fmla="*/ 146 w 270"/>
                <a:gd name="T11" fmla="*/ 196 h 272"/>
                <a:gd name="T12" fmla="*/ 152 w 270"/>
                <a:gd name="T13" fmla="*/ 182 h 272"/>
                <a:gd name="T14" fmla="*/ 124 w 270"/>
                <a:gd name="T15" fmla="*/ 136 h 272"/>
                <a:gd name="T16" fmla="*/ 104 w 270"/>
                <a:gd name="T17" fmla="*/ 126 h 272"/>
                <a:gd name="T18" fmla="*/ 100 w 270"/>
                <a:gd name="T19" fmla="*/ 114 h 272"/>
                <a:gd name="T20" fmla="*/ 82 w 270"/>
                <a:gd name="T21" fmla="*/ 108 h 272"/>
                <a:gd name="T22" fmla="*/ 78 w 270"/>
                <a:gd name="T23" fmla="*/ 96 h 272"/>
                <a:gd name="T24" fmla="*/ 56 w 270"/>
                <a:gd name="T25" fmla="*/ 80 h 272"/>
                <a:gd name="T26" fmla="*/ 48 w 270"/>
                <a:gd name="T27" fmla="*/ 64 h 272"/>
                <a:gd name="T28" fmla="*/ 26 w 270"/>
                <a:gd name="T29" fmla="*/ 38 h 272"/>
                <a:gd name="T30" fmla="*/ 0 w 270"/>
                <a:gd name="T31" fmla="*/ 36 h 272"/>
                <a:gd name="T32" fmla="*/ 2 w 270"/>
                <a:gd name="T33" fmla="*/ 28 h 272"/>
                <a:gd name="T34" fmla="*/ 14 w 270"/>
                <a:gd name="T35" fmla="*/ 28 h 272"/>
                <a:gd name="T36" fmla="*/ 12 w 270"/>
                <a:gd name="T37" fmla="*/ 20 h 272"/>
                <a:gd name="T38" fmla="*/ 36 w 270"/>
                <a:gd name="T39" fmla="*/ 16 h 272"/>
                <a:gd name="T40" fmla="*/ 54 w 270"/>
                <a:gd name="T41" fmla="*/ 0 h 272"/>
                <a:gd name="T42" fmla="*/ 72 w 270"/>
                <a:gd name="T43" fmla="*/ 0 h 272"/>
                <a:gd name="T44" fmla="*/ 100 w 270"/>
                <a:gd name="T45" fmla="*/ 16 h 272"/>
                <a:gd name="T46" fmla="*/ 112 w 270"/>
                <a:gd name="T47" fmla="*/ 10 h 272"/>
                <a:gd name="T48" fmla="*/ 118 w 270"/>
                <a:gd name="T49" fmla="*/ 22 h 272"/>
                <a:gd name="T50" fmla="*/ 126 w 270"/>
                <a:gd name="T51" fmla="*/ 16 h 272"/>
                <a:gd name="T52" fmla="*/ 144 w 270"/>
                <a:gd name="T53" fmla="*/ 14 h 272"/>
                <a:gd name="T54" fmla="*/ 154 w 270"/>
                <a:gd name="T55" fmla="*/ 30 h 272"/>
                <a:gd name="T56" fmla="*/ 166 w 270"/>
                <a:gd name="T57" fmla="*/ 22 h 272"/>
                <a:gd name="T58" fmla="*/ 176 w 270"/>
                <a:gd name="T59" fmla="*/ 34 h 272"/>
                <a:gd name="T60" fmla="*/ 180 w 270"/>
                <a:gd name="T61" fmla="*/ 72 h 272"/>
                <a:gd name="T62" fmla="*/ 192 w 270"/>
                <a:gd name="T63" fmla="*/ 96 h 272"/>
                <a:gd name="T64" fmla="*/ 212 w 270"/>
                <a:gd name="T65" fmla="*/ 106 h 272"/>
                <a:gd name="T66" fmla="*/ 232 w 270"/>
                <a:gd name="T67" fmla="*/ 116 h 272"/>
                <a:gd name="T68" fmla="*/ 246 w 270"/>
                <a:gd name="T69" fmla="*/ 116 h 272"/>
                <a:gd name="T70" fmla="*/ 254 w 270"/>
                <a:gd name="T71" fmla="*/ 136 h 272"/>
                <a:gd name="T72" fmla="*/ 252 w 270"/>
                <a:gd name="T73" fmla="*/ 142 h 272"/>
                <a:gd name="T74" fmla="*/ 270 w 270"/>
                <a:gd name="T75" fmla="*/ 152 h 272"/>
                <a:gd name="T76" fmla="*/ 268 w 270"/>
                <a:gd name="T77" fmla="*/ 156 h 272"/>
                <a:gd name="T78" fmla="*/ 258 w 270"/>
                <a:gd name="T79" fmla="*/ 156 h 272"/>
                <a:gd name="T80" fmla="*/ 252 w 270"/>
                <a:gd name="T81" fmla="*/ 162 h 272"/>
                <a:gd name="T82" fmla="*/ 244 w 270"/>
                <a:gd name="T83" fmla="*/ 154 h 272"/>
                <a:gd name="T84" fmla="*/ 240 w 270"/>
                <a:gd name="T85" fmla="*/ 160 h 272"/>
                <a:gd name="T86" fmla="*/ 228 w 270"/>
                <a:gd name="T87" fmla="*/ 156 h 272"/>
                <a:gd name="T88" fmla="*/ 212 w 270"/>
                <a:gd name="T89" fmla="*/ 166 h 272"/>
                <a:gd name="T90" fmla="*/ 204 w 270"/>
                <a:gd name="T91" fmla="*/ 156 h 272"/>
                <a:gd name="T92" fmla="*/ 188 w 270"/>
                <a:gd name="T93" fmla="*/ 170 h 272"/>
                <a:gd name="T94" fmla="*/ 204 w 270"/>
                <a:gd name="T95" fmla="*/ 190 h 272"/>
                <a:gd name="T96" fmla="*/ 202 w 270"/>
                <a:gd name="T97" fmla="*/ 198 h 272"/>
                <a:gd name="T98" fmla="*/ 204 w 270"/>
                <a:gd name="T99" fmla="*/ 208 h 272"/>
                <a:gd name="T100" fmla="*/ 192 w 270"/>
                <a:gd name="T101" fmla="*/ 216 h 272"/>
                <a:gd name="T102" fmla="*/ 196 w 270"/>
                <a:gd name="T103" fmla="*/ 230 h 272"/>
                <a:gd name="T104" fmla="*/ 184 w 270"/>
                <a:gd name="T105" fmla="*/ 244 h 272"/>
                <a:gd name="T106" fmla="*/ 186 w 270"/>
                <a:gd name="T107" fmla="*/ 264 h 272"/>
                <a:gd name="T108" fmla="*/ 172 w 270"/>
                <a:gd name="T109" fmla="*/ 264 h 272"/>
                <a:gd name="T110" fmla="*/ 168 w 270"/>
                <a:gd name="T111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0" h="272">
                  <a:moveTo>
                    <a:pt x="168" y="272"/>
                  </a:moveTo>
                  <a:lnTo>
                    <a:pt x="160" y="268"/>
                  </a:lnTo>
                  <a:lnTo>
                    <a:pt x="158" y="256"/>
                  </a:lnTo>
                  <a:lnTo>
                    <a:pt x="152" y="242"/>
                  </a:lnTo>
                  <a:lnTo>
                    <a:pt x="146" y="224"/>
                  </a:lnTo>
                  <a:lnTo>
                    <a:pt x="146" y="196"/>
                  </a:lnTo>
                  <a:lnTo>
                    <a:pt x="152" y="182"/>
                  </a:lnTo>
                  <a:lnTo>
                    <a:pt x="124" y="136"/>
                  </a:lnTo>
                  <a:lnTo>
                    <a:pt x="104" y="126"/>
                  </a:lnTo>
                  <a:lnTo>
                    <a:pt x="100" y="114"/>
                  </a:lnTo>
                  <a:lnTo>
                    <a:pt x="82" y="108"/>
                  </a:lnTo>
                  <a:lnTo>
                    <a:pt x="78" y="96"/>
                  </a:lnTo>
                  <a:lnTo>
                    <a:pt x="56" y="80"/>
                  </a:lnTo>
                  <a:lnTo>
                    <a:pt x="48" y="64"/>
                  </a:lnTo>
                  <a:lnTo>
                    <a:pt x="26" y="38"/>
                  </a:lnTo>
                  <a:lnTo>
                    <a:pt x="0" y="36"/>
                  </a:lnTo>
                  <a:lnTo>
                    <a:pt x="2" y="28"/>
                  </a:lnTo>
                  <a:lnTo>
                    <a:pt x="14" y="28"/>
                  </a:lnTo>
                  <a:lnTo>
                    <a:pt x="12" y="20"/>
                  </a:lnTo>
                  <a:lnTo>
                    <a:pt x="36" y="16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100" y="16"/>
                  </a:lnTo>
                  <a:lnTo>
                    <a:pt x="112" y="10"/>
                  </a:lnTo>
                  <a:lnTo>
                    <a:pt x="118" y="22"/>
                  </a:lnTo>
                  <a:lnTo>
                    <a:pt x="126" y="16"/>
                  </a:lnTo>
                  <a:lnTo>
                    <a:pt x="144" y="14"/>
                  </a:lnTo>
                  <a:lnTo>
                    <a:pt x="154" y="30"/>
                  </a:lnTo>
                  <a:lnTo>
                    <a:pt x="166" y="22"/>
                  </a:lnTo>
                  <a:lnTo>
                    <a:pt x="176" y="34"/>
                  </a:lnTo>
                  <a:lnTo>
                    <a:pt x="180" y="72"/>
                  </a:lnTo>
                  <a:lnTo>
                    <a:pt x="192" y="96"/>
                  </a:lnTo>
                  <a:lnTo>
                    <a:pt x="212" y="106"/>
                  </a:lnTo>
                  <a:lnTo>
                    <a:pt x="232" y="116"/>
                  </a:lnTo>
                  <a:lnTo>
                    <a:pt x="246" y="116"/>
                  </a:lnTo>
                  <a:lnTo>
                    <a:pt x="254" y="136"/>
                  </a:lnTo>
                  <a:lnTo>
                    <a:pt x="252" y="142"/>
                  </a:lnTo>
                  <a:lnTo>
                    <a:pt x="270" y="152"/>
                  </a:lnTo>
                  <a:lnTo>
                    <a:pt x="268" y="156"/>
                  </a:lnTo>
                  <a:lnTo>
                    <a:pt x="258" y="156"/>
                  </a:lnTo>
                  <a:lnTo>
                    <a:pt x="252" y="162"/>
                  </a:lnTo>
                  <a:lnTo>
                    <a:pt x="244" y="154"/>
                  </a:lnTo>
                  <a:lnTo>
                    <a:pt x="240" y="160"/>
                  </a:lnTo>
                  <a:lnTo>
                    <a:pt x="228" y="156"/>
                  </a:lnTo>
                  <a:lnTo>
                    <a:pt x="212" y="166"/>
                  </a:lnTo>
                  <a:lnTo>
                    <a:pt x="204" y="156"/>
                  </a:lnTo>
                  <a:lnTo>
                    <a:pt x="188" y="170"/>
                  </a:lnTo>
                  <a:lnTo>
                    <a:pt x="204" y="190"/>
                  </a:lnTo>
                  <a:lnTo>
                    <a:pt x="202" y="198"/>
                  </a:lnTo>
                  <a:lnTo>
                    <a:pt x="204" y="208"/>
                  </a:lnTo>
                  <a:lnTo>
                    <a:pt x="192" y="216"/>
                  </a:lnTo>
                  <a:lnTo>
                    <a:pt x="196" y="230"/>
                  </a:lnTo>
                  <a:lnTo>
                    <a:pt x="184" y="244"/>
                  </a:lnTo>
                  <a:lnTo>
                    <a:pt x="186" y="264"/>
                  </a:lnTo>
                  <a:lnTo>
                    <a:pt x="172" y="264"/>
                  </a:lnTo>
                  <a:lnTo>
                    <a:pt x="168" y="272"/>
                  </a:lnTo>
                  <a:close/>
                </a:path>
              </a:pathLst>
            </a:custGeom>
            <a:solidFill>
              <a:srgbClr val="E29815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2" name="Freeform 7"/>
            <p:cNvSpPr>
              <a:spLocks/>
            </p:cNvSpPr>
            <p:nvPr/>
          </p:nvSpPr>
          <p:spPr bwMode="gray">
            <a:xfrm>
              <a:off x="2669935" y="4232527"/>
              <a:ext cx="388033" cy="203349"/>
            </a:xfrm>
            <a:custGeom>
              <a:avLst/>
              <a:gdLst>
                <a:gd name="T0" fmla="*/ 18 w 354"/>
                <a:gd name="T1" fmla="*/ 166 h 196"/>
                <a:gd name="T2" fmla="*/ 10 w 354"/>
                <a:gd name="T3" fmla="*/ 156 h 196"/>
                <a:gd name="T4" fmla="*/ 0 w 354"/>
                <a:gd name="T5" fmla="*/ 142 h 196"/>
                <a:gd name="T6" fmla="*/ 0 w 354"/>
                <a:gd name="T7" fmla="*/ 128 h 196"/>
                <a:gd name="T8" fmla="*/ 6 w 354"/>
                <a:gd name="T9" fmla="*/ 112 h 196"/>
                <a:gd name="T10" fmla="*/ 16 w 354"/>
                <a:gd name="T11" fmla="*/ 94 h 196"/>
                <a:gd name="T12" fmla="*/ 40 w 354"/>
                <a:gd name="T13" fmla="*/ 96 h 196"/>
                <a:gd name="T14" fmla="*/ 60 w 354"/>
                <a:gd name="T15" fmla="*/ 82 h 196"/>
                <a:gd name="T16" fmla="*/ 64 w 354"/>
                <a:gd name="T17" fmla="*/ 70 h 196"/>
                <a:gd name="T18" fmla="*/ 74 w 354"/>
                <a:gd name="T19" fmla="*/ 68 h 196"/>
                <a:gd name="T20" fmla="*/ 74 w 354"/>
                <a:gd name="T21" fmla="*/ 48 h 196"/>
                <a:gd name="T22" fmla="*/ 88 w 354"/>
                <a:gd name="T23" fmla="*/ 42 h 196"/>
                <a:gd name="T24" fmla="*/ 88 w 354"/>
                <a:gd name="T25" fmla="*/ 30 h 196"/>
                <a:gd name="T26" fmla="*/ 102 w 354"/>
                <a:gd name="T27" fmla="*/ 20 h 196"/>
                <a:gd name="T28" fmla="*/ 112 w 354"/>
                <a:gd name="T29" fmla="*/ 18 h 196"/>
                <a:gd name="T30" fmla="*/ 124 w 354"/>
                <a:gd name="T31" fmla="*/ 18 h 196"/>
                <a:gd name="T32" fmla="*/ 126 w 354"/>
                <a:gd name="T33" fmla="*/ 28 h 196"/>
                <a:gd name="T34" fmla="*/ 134 w 354"/>
                <a:gd name="T35" fmla="*/ 28 h 196"/>
                <a:gd name="T36" fmla="*/ 138 w 354"/>
                <a:gd name="T37" fmla="*/ 16 h 196"/>
                <a:gd name="T38" fmla="*/ 152 w 354"/>
                <a:gd name="T39" fmla="*/ 4 h 196"/>
                <a:gd name="T40" fmla="*/ 162 w 354"/>
                <a:gd name="T41" fmla="*/ 18 h 196"/>
                <a:gd name="T42" fmla="*/ 178 w 354"/>
                <a:gd name="T43" fmla="*/ 24 h 196"/>
                <a:gd name="T44" fmla="*/ 178 w 354"/>
                <a:gd name="T45" fmla="*/ 42 h 196"/>
                <a:gd name="T46" fmla="*/ 198 w 354"/>
                <a:gd name="T47" fmla="*/ 38 h 196"/>
                <a:gd name="T48" fmla="*/ 198 w 354"/>
                <a:gd name="T49" fmla="*/ 28 h 196"/>
                <a:gd name="T50" fmla="*/ 212 w 354"/>
                <a:gd name="T51" fmla="*/ 16 h 196"/>
                <a:gd name="T52" fmla="*/ 232 w 354"/>
                <a:gd name="T53" fmla="*/ 12 h 196"/>
                <a:gd name="T54" fmla="*/ 242 w 354"/>
                <a:gd name="T55" fmla="*/ 20 h 196"/>
                <a:gd name="T56" fmla="*/ 256 w 354"/>
                <a:gd name="T57" fmla="*/ 16 h 196"/>
                <a:gd name="T58" fmla="*/ 256 w 354"/>
                <a:gd name="T59" fmla="*/ 6 h 196"/>
                <a:gd name="T60" fmla="*/ 280 w 354"/>
                <a:gd name="T61" fmla="*/ 6 h 196"/>
                <a:gd name="T62" fmla="*/ 290 w 354"/>
                <a:gd name="T63" fmla="*/ 0 h 196"/>
                <a:gd name="T64" fmla="*/ 310 w 354"/>
                <a:gd name="T65" fmla="*/ 6 h 196"/>
                <a:gd name="T66" fmla="*/ 326 w 354"/>
                <a:gd name="T67" fmla="*/ 20 h 196"/>
                <a:gd name="T68" fmla="*/ 342 w 354"/>
                <a:gd name="T69" fmla="*/ 22 h 196"/>
                <a:gd name="T70" fmla="*/ 354 w 354"/>
                <a:gd name="T71" fmla="*/ 28 h 196"/>
                <a:gd name="T72" fmla="*/ 348 w 354"/>
                <a:gd name="T73" fmla="*/ 40 h 196"/>
                <a:gd name="T74" fmla="*/ 346 w 354"/>
                <a:gd name="T75" fmla="*/ 62 h 196"/>
                <a:gd name="T76" fmla="*/ 338 w 354"/>
                <a:gd name="T77" fmla="*/ 78 h 196"/>
                <a:gd name="T78" fmla="*/ 340 w 354"/>
                <a:gd name="T79" fmla="*/ 94 h 196"/>
                <a:gd name="T80" fmla="*/ 314 w 354"/>
                <a:gd name="T81" fmla="*/ 106 h 196"/>
                <a:gd name="T82" fmla="*/ 308 w 354"/>
                <a:gd name="T83" fmla="*/ 98 h 196"/>
                <a:gd name="T84" fmla="*/ 304 w 354"/>
                <a:gd name="T85" fmla="*/ 94 h 196"/>
                <a:gd name="T86" fmla="*/ 292 w 354"/>
                <a:gd name="T87" fmla="*/ 86 h 196"/>
                <a:gd name="T88" fmla="*/ 272 w 354"/>
                <a:gd name="T89" fmla="*/ 96 h 196"/>
                <a:gd name="T90" fmla="*/ 254 w 354"/>
                <a:gd name="T91" fmla="*/ 90 h 196"/>
                <a:gd name="T92" fmla="*/ 236 w 354"/>
                <a:gd name="T93" fmla="*/ 96 h 196"/>
                <a:gd name="T94" fmla="*/ 228 w 354"/>
                <a:gd name="T95" fmla="*/ 110 h 196"/>
                <a:gd name="T96" fmla="*/ 226 w 354"/>
                <a:gd name="T97" fmla="*/ 124 h 196"/>
                <a:gd name="T98" fmla="*/ 220 w 354"/>
                <a:gd name="T99" fmla="*/ 126 h 196"/>
                <a:gd name="T100" fmla="*/ 202 w 354"/>
                <a:gd name="T101" fmla="*/ 142 h 196"/>
                <a:gd name="T102" fmla="*/ 188 w 354"/>
                <a:gd name="T103" fmla="*/ 136 h 196"/>
                <a:gd name="T104" fmla="*/ 176 w 354"/>
                <a:gd name="T105" fmla="*/ 136 h 196"/>
                <a:gd name="T106" fmla="*/ 170 w 354"/>
                <a:gd name="T107" fmla="*/ 152 h 196"/>
                <a:gd name="T108" fmla="*/ 134 w 354"/>
                <a:gd name="T109" fmla="*/ 158 h 196"/>
                <a:gd name="T110" fmla="*/ 128 w 354"/>
                <a:gd name="T111" fmla="*/ 162 h 196"/>
                <a:gd name="T112" fmla="*/ 128 w 354"/>
                <a:gd name="T113" fmla="*/ 174 h 196"/>
                <a:gd name="T114" fmla="*/ 134 w 354"/>
                <a:gd name="T115" fmla="*/ 180 h 196"/>
                <a:gd name="T116" fmla="*/ 124 w 354"/>
                <a:gd name="T117" fmla="*/ 190 h 196"/>
                <a:gd name="T118" fmla="*/ 94 w 354"/>
                <a:gd name="T119" fmla="*/ 194 h 196"/>
                <a:gd name="T120" fmla="*/ 64 w 354"/>
                <a:gd name="T121" fmla="*/ 196 h 196"/>
                <a:gd name="T122" fmla="*/ 40 w 354"/>
                <a:gd name="T123" fmla="*/ 178 h 196"/>
                <a:gd name="T124" fmla="*/ 18 w 354"/>
                <a:gd name="T125" fmla="*/ 16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4" h="196">
                  <a:moveTo>
                    <a:pt x="18" y="166"/>
                  </a:moveTo>
                  <a:lnTo>
                    <a:pt x="10" y="156"/>
                  </a:lnTo>
                  <a:lnTo>
                    <a:pt x="0" y="142"/>
                  </a:lnTo>
                  <a:lnTo>
                    <a:pt x="0" y="128"/>
                  </a:lnTo>
                  <a:lnTo>
                    <a:pt x="6" y="112"/>
                  </a:lnTo>
                  <a:lnTo>
                    <a:pt x="16" y="94"/>
                  </a:lnTo>
                  <a:lnTo>
                    <a:pt x="40" y="96"/>
                  </a:lnTo>
                  <a:lnTo>
                    <a:pt x="60" y="82"/>
                  </a:lnTo>
                  <a:lnTo>
                    <a:pt x="64" y="70"/>
                  </a:lnTo>
                  <a:lnTo>
                    <a:pt x="74" y="68"/>
                  </a:lnTo>
                  <a:lnTo>
                    <a:pt x="74" y="48"/>
                  </a:lnTo>
                  <a:lnTo>
                    <a:pt x="88" y="42"/>
                  </a:lnTo>
                  <a:lnTo>
                    <a:pt x="88" y="30"/>
                  </a:lnTo>
                  <a:lnTo>
                    <a:pt x="102" y="20"/>
                  </a:lnTo>
                  <a:lnTo>
                    <a:pt x="112" y="18"/>
                  </a:lnTo>
                  <a:lnTo>
                    <a:pt x="124" y="18"/>
                  </a:lnTo>
                  <a:lnTo>
                    <a:pt x="126" y="28"/>
                  </a:lnTo>
                  <a:lnTo>
                    <a:pt x="134" y="28"/>
                  </a:lnTo>
                  <a:lnTo>
                    <a:pt x="138" y="16"/>
                  </a:lnTo>
                  <a:lnTo>
                    <a:pt x="152" y="4"/>
                  </a:lnTo>
                  <a:lnTo>
                    <a:pt x="162" y="18"/>
                  </a:lnTo>
                  <a:lnTo>
                    <a:pt x="178" y="24"/>
                  </a:lnTo>
                  <a:lnTo>
                    <a:pt x="178" y="42"/>
                  </a:lnTo>
                  <a:lnTo>
                    <a:pt x="198" y="38"/>
                  </a:lnTo>
                  <a:lnTo>
                    <a:pt x="198" y="28"/>
                  </a:lnTo>
                  <a:lnTo>
                    <a:pt x="212" y="16"/>
                  </a:lnTo>
                  <a:lnTo>
                    <a:pt x="232" y="12"/>
                  </a:lnTo>
                  <a:lnTo>
                    <a:pt x="242" y="20"/>
                  </a:lnTo>
                  <a:lnTo>
                    <a:pt x="256" y="16"/>
                  </a:lnTo>
                  <a:lnTo>
                    <a:pt x="256" y="6"/>
                  </a:lnTo>
                  <a:lnTo>
                    <a:pt x="280" y="6"/>
                  </a:lnTo>
                  <a:lnTo>
                    <a:pt x="290" y="0"/>
                  </a:lnTo>
                  <a:lnTo>
                    <a:pt x="310" y="6"/>
                  </a:lnTo>
                  <a:lnTo>
                    <a:pt x="326" y="20"/>
                  </a:lnTo>
                  <a:lnTo>
                    <a:pt x="342" y="22"/>
                  </a:lnTo>
                  <a:lnTo>
                    <a:pt x="354" y="28"/>
                  </a:lnTo>
                  <a:lnTo>
                    <a:pt x="348" y="40"/>
                  </a:lnTo>
                  <a:lnTo>
                    <a:pt x="346" y="62"/>
                  </a:lnTo>
                  <a:lnTo>
                    <a:pt x="338" y="78"/>
                  </a:lnTo>
                  <a:lnTo>
                    <a:pt x="340" y="94"/>
                  </a:lnTo>
                  <a:lnTo>
                    <a:pt x="314" y="106"/>
                  </a:lnTo>
                  <a:lnTo>
                    <a:pt x="308" y="98"/>
                  </a:lnTo>
                  <a:lnTo>
                    <a:pt x="304" y="94"/>
                  </a:lnTo>
                  <a:lnTo>
                    <a:pt x="292" y="86"/>
                  </a:lnTo>
                  <a:lnTo>
                    <a:pt x="272" y="96"/>
                  </a:lnTo>
                  <a:lnTo>
                    <a:pt x="254" y="90"/>
                  </a:lnTo>
                  <a:lnTo>
                    <a:pt x="236" y="96"/>
                  </a:lnTo>
                  <a:lnTo>
                    <a:pt x="228" y="110"/>
                  </a:lnTo>
                  <a:lnTo>
                    <a:pt x="226" y="124"/>
                  </a:lnTo>
                  <a:lnTo>
                    <a:pt x="220" y="126"/>
                  </a:lnTo>
                  <a:lnTo>
                    <a:pt x="202" y="142"/>
                  </a:lnTo>
                  <a:lnTo>
                    <a:pt x="188" y="136"/>
                  </a:lnTo>
                  <a:lnTo>
                    <a:pt x="176" y="136"/>
                  </a:lnTo>
                  <a:lnTo>
                    <a:pt x="170" y="152"/>
                  </a:lnTo>
                  <a:lnTo>
                    <a:pt x="134" y="158"/>
                  </a:lnTo>
                  <a:lnTo>
                    <a:pt x="128" y="162"/>
                  </a:lnTo>
                  <a:lnTo>
                    <a:pt x="128" y="174"/>
                  </a:lnTo>
                  <a:lnTo>
                    <a:pt x="134" y="180"/>
                  </a:lnTo>
                  <a:lnTo>
                    <a:pt x="124" y="190"/>
                  </a:lnTo>
                  <a:lnTo>
                    <a:pt x="94" y="194"/>
                  </a:lnTo>
                  <a:lnTo>
                    <a:pt x="64" y="196"/>
                  </a:lnTo>
                  <a:lnTo>
                    <a:pt x="40" y="178"/>
                  </a:lnTo>
                  <a:lnTo>
                    <a:pt x="18" y="166"/>
                  </a:lnTo>
                  <a:close/>
                </a:path>
              </a:pathLst>
            </a:custGeom>
            <a:solidFill>
              <a:srgbClr val="FF000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3" name="Freeform 8"/>
            <p:cNvSpPr>
              <a:spLocks/>
            </p:cNvSpPr>
            <p:nvPr/>
          </p:nvSpPr>
          <p:spPr bwMode="gray">
            <a:xfrm>
              <a:off x="1888517" y="4216314"/>
              <a:ext cx="53522" cy="72242"/>
            </a:xfrm>
            <a:custGeom>
              <a:avLst/>
              <a:gdLst>
                <a:gd name="T0" fmla="*/ 4 w 48"/>
                <a:gd name="T1" fmla="*/ 62 h 70"/>
                <a:gd name="T2" fmla="*/ 4 w 48"/>
                <a:gd name="T3" fmla="*/ 54 h 70"/>
                <a:gd name="T4" fmla="*/ 8 w 48"/>
                <a:gd name="T5" fmla="*/ 48 h 70"/>
                <a:gd name="T6" fmla="*/ 2 w 48"/>
                <a:gd name="T7" fmla="*/ 40 h 70"/>
                <a:gd name="T8" fmla="*/ 0 w 48"/>
                <a:gd name="T9" fmla="*/ 30 h 70"/>
                <a:gd name="T10" fmla="*/ 2 w 48"/>
                <a:gd name="T11" fmla="*/ 18 h 70"/>
                <a:gd name="T12" fmla="*/ 8 w 48"/>
                <a:gd name="T13" fmla="*/ 8 h 70"/>
                <a:gd name="T14" fmla="*/ 12 w 48"/>
                <a:gd name="T15" fmla="*/ 0 h 70"/>
                <a:gd name="T16" fmla="*/ 22 w 48"/>
                <a:gd name="T17" fmla="*/ 0 h 70"/>
                <a:gd name="T18" fmla="*/ 26 w 48"/>
                <a:gd name="T19" fmla="*/ 0 h 70"/>
                <a:gd name="T20" fmla="*/ 26 w 48"/>
                <a:gd name="T21" fmla="*/ 10 h 70"/>
                <a:gd name="T22" fmla="*/ 26 w 48"/>
                <a:gd name="T23" fmla="*/ 20 h 70"/>
                <a:gd name="T24" fmla="*/ 32 w 48"/>
                <a:gd name="T25" fmla="*/ 28 h 70"/>
                <a:gd name="T26" fmla="*/ 40 w 48"/>
                <a:gd name="T27" fmla="*/ 34 h 70"/>
                <a:gd name="T28" fmla="*/ 46 w 48"/>
                <a:gd name="T29" fmla="*/ 38 h 70"/>
                <a:gd name="T30" fmla="*/ 48 w 48"/>
                <a:gd name="T31" fmla="*/ 44 h 70"/>
                <a:gd name="T32" fmla="*/ 42 w 48"/>
                <a:gd name="T33" fmla="*/ 50 h 70"/>
                <a:gd name="T34" fmla="*/ 38 w 48"/>
                <a:gd name="T35" fmla="*/ 56 h 70"/>
                <a:gd name="T36" fmla="*/ 36 w 48"/>
                <a:gd name="T37" fmla="*/ 66 h 70"/>
                <a:gd name="T38" fmla="*/ 30 w 48"/>
                <a:gd name="T39" fmla="*/ 64 h 70"/>
                <a:gd name="T40" fmla="*/ 22 w 48"/>
                <a:gd name="T41" fmla="*/ 64 h 70"/>
                <a:gd name="T42" fmla="*/ 18 w 48"/>
                <a:gd name="T43" fmla="*/ 68 h 70"/>
                <a:gd name="T44" fmla="*/ 14 w 48"/>
                <a:gd name="T45" fmla="*/ 70 h 70"/>
                <a:gd name="T46" fmla="*/ 8 w 48"/>
                <a:gd name="T47" fmla="*/ 66 h 70"/>
                <a:gd name="T48" fmla="*/ 4 w 48"/>
                <a:gd name="T49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" h="70">
                  <a:moveTo>
                    <a:pt x="4" y="62"/>
                  </a:moveTo>
                  <a:lnTo>
                    <a:pt x="4" y="54"/>
                  </a:lnTo>
                  <a:lnTo>
                    <a:pt x="8" y="48"/>
                  </a:lnTo>
                  <a:lnTo>
                    <a:pt x="2" y="40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8" y="8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10"/>
                  </a:lnTo>
                  <a:lnTo>
                    <a:pt x="26" y="20"/>
                  </a:lnTo>
                  <a:lnTo>
                    <a:pt x="32" y="28"/>
                  </a:lnTo>
                  <a:lnTo>
                    <a:pt x="40" y="34"/>
                  </a:lnTo>
                  <a:lnTo>
                    <a:pt x="46" y="38"/>
                  </a:lnTo>
                  <a:lnTo>
                    <a:pt x="48" y="44"/>
                  </a:lnTo>
                  <a:lnTo>
                    <a:pt x="42" y="50"/>
                  </a:lnTo>
                  <a:lnTo>
                    <a:pt x="38" y="56"/>
                  </a:lnTo>
                  <a:lnTo>
                    <a:pt x="36" y="66"/>
                  </a:lnTo>
                  <a:lnTo>
                    <a:pt x="30" y="64"/>
                  </a:lnTo>
                  <a:lnTo>
                    <a:pt x="22" y="64"/>
                  </a:lnTo>
                  <a:lnTo>
                    <a:pt x="18" y="68"/>
                  </a:lnTo>
                  <a:lnTo>
                    <a:pt x="14" y="70"/>
                  </a:lnTo>
                  <a:lnTo>
                    <a:pt x="8" y="66"/>
                  </a:lnTo>
                  <a:lnTo>
                    <a:pt x="4" y="6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4" name="Freeform 9"/>
            <p:cNvSpPr>
              <a:spLocks/>
            </p:cNvSpPr>
            <p:nvPr/>
          </p:nvSpPr>
          <p:spPr bwMode="gray">
            <a:xfrm>
              <a:off x="2328654" y="4124152"/>
              <a:ext cx="464302" cy="250173"/>
            </a:xfrm>
            <a:custGeom>
              <a:avLst/>
              <a:gdLst>
                <a:gd name="T0" fmla="*/ 186 w 424"/>
                <a:gd name="T1" fmla="*/ 0 h 240"/>
                <a:gd name="T2" fmla="*/ 192 w 424"/>
                <a:gd name="T3" fmla="*/ 12 h 240"/>
                <a:gd name="T4" fmla="*/ 228 w 424"/>
                <a:gd name="T5" fmla="*/ 24 h 240"/>
                <a:gd name="T6" fmla="*/ 240 w 424"/>
                <a:gd name="T7" fmla="*/ 32 h 240"/>
                <a:gd name="T8" fmla="*/ 260 w 424"/>
                <a:gd name="T9" fmla="*/ 28 h 240"/>
                <a:gd name="T10" fmla="*/ 252 w 424"/>
                <a:gd name="T11" fmla="*/ 52 h 240"/>
                <a:gd name="T12" fmla="*/ 274 w 424"/>
                <a:gd name="T13" fmla="*/ 68 h 240"/>
                <a:gd name="T14" fmla="*/ 282 w 424"/>
                <a:gd name="T15" fmla="*/ 80 h 240"/>
                <a:gd name="T16" fmla="*/ 298 w 424"/>
                <a:gd name="T17" fmla="*/ 54 h 240"/>
                <a:gd name="T18" fmla="*/ 306 w 424"/>
                <a:gd name="T19" fmla="*/ 46 h 240"/>
                <a:gd name="T20" fmla="*/ 328 w 424"/>
                <a:gd name="T21" fmla="*/ 60 h 240"/>
                <a:gd name="T22" fmla="*/ 350 w 424"/>
                <a:gd name="T23" fmla="*/ 54 h 240"/>
                <a:gd name="T24" fmla="*/ 344 w 424"/>
                <a:gd name="T25" fmla="*/ 68 h 240"/>
                <a:gd name="T26" fmla="*/ 350 w 424"/>
                <a:gd name="T27" fmla="*/ 74 h 240"/>
                <a:gd name="T28" fmla="*/ 370 w 424"/>
                <a:gd name="T29" fmla="*/ 78 h 240"/>
                <a:gd name="T30" fmla="*/ 398 w 424"/>
                <a:gd name="T31" fmla="*/ 84 h 240"/>
                <a:gd name="T32" fmla="*/ 406 w 424"/>
                <a:gd name="T33" fmla="*/ 96 h 240"/>
                <a:gd name="T34" fmla="*/ 424 w 424"/>
                <a:gd name="T35" fmla="*/ 110 h 240"/>
                <a:gd name="T36" fmla="*/ 414 w 424"/>
                <a:gd name="T37" fmla="*/ 124 h 240"/>
                <a:gd name="T38" fmla="*/ 400 w 424"/>
                <a:gd name="T39" fmla="*/ 146 h 240"/>
                <a:gd name="T40" fmla="*/ 386 w 424"/>
                <a:gd name="T41" fmla="*/ 172 h 240"/>
                <a:gd name="T42" fmla="*/ 372 w 424"/>
                <a:gd name="T43" fmla="*/ 186 h 240"/>
                <a:gd name="T44" fmla="*/ 328 w 424"/>
                <a:gd name="T45" fmla="*/ 198 h 240"/>
                <a:gd name="T46" fmla="*/ 302 w 424"/>
                <a:gd name="T47" fmla="*/ 212 h 240"/>
                <a:gd name="T48" fmla="*/ 276 w 424"/>
                <a:gd name="T49" fmla="*/ 214 h 240"/>
                <a:gd name="T50" fmla="*/ 246 w 424"/>
                <a:gd name="T51" fmla="*/ 206 h 240"/>
                <a:gd name="T52" fmla="*/ 218 w 424"/>
                <a:gd name="T53" fmla="*/ 198 h 240"/>
                <a:gd name="T54" fmla="*/ 186 w 424"/>
                <a:gd name="T55" fmla="*/ 194 h 240"/>
                <a:gd name="T56" fmla="*/ 178 w 424"/>
                <a:gd name="T57" fmla="*/ 218 h 240"/>
                <a:gd name="T58" fmla="*/ 170 w 424"/>
                <a:gd name="T59" fmla="*/ 238 h 240"/>
                <a:gd name="T60" fmla="*/ 146 w 424"/>
                <a:gd name="T61" fmla="*/ 240 h 240"/>
                <a:gd name="T62" fmla="*/ 128 w 424"/>
                <a:gd name="T63" fmla="*/ 228 h 240"/>
                <a:gd name="T64" fmla="*/ 110 w 424"/>
                <a:gd name="T65" fmla="*/ 214 h 240"/>
                <a:gd name="T66" fmla="*/ 84 w 424"/>
                <a:gd name="T67" fmla="*/ 204 h 240"/>
                <a:gd name="T68" fmla="*/ 78 w 424"/>
                <a:gd name="T69" fmla="*/ 192 h 240"/>
                <a:gd name="T70" fmla="*/ 68 w 424"/>
                <a:gd name="T71" fmla="*/ 184 h 240"/>
                <a:gd name="T72" fmla="*/ 46 w 424"/>
                <a:gd name="T73" fmla="*/ 172 h 240"/>
                <a:gd name="T74" fmla="*/ 28 w 424"/>
                <a:gd name="T75" fmla="*/ 140 h 240"/>
                <a:gd name="T76" fmla="*/ 26 w 424"/>
                <a:gd name="T77" fmla="*/ 124 h 240"/>
                <a:gd name="T78" fmla="*/ 16 w 424"/>
                <a:gd name="T79" fmla="*/ 108 h 240"/>
                <a:gd name="T80" fmla="*/ 4 w 424"/>
                <a:gd name="T81" fmla="*/ 98 h 240"/>
                <a:gd name="T82" fmla="*/ 0 w 424"/>
                <a:gd name="T83" fmla="*/ 78 h 240"/>
                <a:gd name="T84" fmla="*/ 14 w 424"/>
                <a:gd name="T85" fmla="*/ 90 h 240"/>
                <a:gd name="T86" fmla="*/ 26 w 424"/>
                <a:gd name="T87" fmla="*/ 68 h 240"/>
                <a:gd name="T88" fmla="*/ 52 w 424"/>
                <a:gd name="T89" fmla="*/ 64 h 240"/>
                <a:gd name="T90" fmla="*/ 82 w 424"/>
                <a:gd name="T91" fmla="*/ 46 h 240"/>
                <a:gd name="T92" fmla="*/ 106 w 424"/>
                <a:gd name="T93" fmla="*/ 34 h 240"/>
                <a:gd name="T94" fmla="*/ 122 w 424"/>
                <a:gd name="T95" fmla="*/ 24 h 240"/>
                <a:gd name="T96" fmla="*/ 136 w 424"/>
                <a:gd name="T97" fmla="*/ 14 h 240"/>
                <a:gd name="T98" fmla="*/ 142 w 424"/>
                <a:gd name="T99" fmla="*/ 0 h 240"/>
                <a:gd name="T100" fmla="*/ 152 w 424"/>
                <a:gd name="T101" fmla="*/ 16 h 240"/>
                <a:gd name="T102" fmla="*/ 162 w 424"/>
                <a:gd name="T103" fmla="*/ 20 h 240"/>
                <a:gd name="T104" fmla="*/ 170 w 424"/>
                <a:gd name="T105" fmla="*/ 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4" h="240">
                  <a:moveTo>
                    <a:pt x="170" y="2"/>
                  </a:moveTo>
                  <a:lnTo>
                    <a:pt x="186" y="0"/>
                  </a:lnTo>
                  <a:lnTo>
                    <a:pt x="192" y="6"/>
                  </a:lnTo>
                  <a:lnTo>
                    <a:pt x="192" y="12"/>
                  </a:lnTo>
                  <a:lnTo>
                    <a:pt x="202" y="20"/>
                  </a:lnTo>
                  <a:lnTo>
                    <a:pt x="228" y="24"/>
                  </a:lnTo>
                  <a:lnTo>
                    <a:pt x="236" y="28"/>
                  </a:lnTo>
                  <a:lnTo>
                    <a:pt x="240" y="32"/>
                  </a:lnTo>
                  <a:lnTo>
                    <a:pt x="250" y="30"/>
                  </a:lnTo>
                  <a:lnTo>
                    <a:pt x="260" y="28"/>
                  </a:lnTo>
                  <a:lnTo>
                    <a:pt x="266" y="36"/>
                  </a:lnTo>
                  <a:lnTo>
                    <a:pt x="252" y="52"/>
                  </a:lnTo>
                  <a:lnTo>
                    <a:pt x="264" y="60"/>
                  </a:lnTo>
                  <a:lnTo>
                    <a:pt x="274" y="68"/>
                  </a:lnTo>
                  <a:lnTo>
                    <a:pt x="274" y="72"/>
                  </a:lnTo>
                  <a:lnTo>
                    <a:pt x="282" y="80"/>
                  </a:lnTo>
                  <a:lnTo>
                    <a:pt x="306" y="62"/>
                  </a:lnTo>
                  <a:lnTo>
                    <a:pt x="298" y="54"/>
                  </a:lnTo>
                  <a:lnTo>
                    <a:pt x="298" y="46"/>
                  </a:lnTo>
                  <a:lnTo>
                    <a:pt x="306" y="46"/>
                  </a:lnTo>
                  <a:lnTo>
                    <a:pt x="320" y="54"/>
                  </a:lnTo>
                  <a:lnTo>
                    <a:pt x="328" y="60"/>
                  </a:lnTo>
                  <a:lnTo>
                    <a:pt x="342" y="60"/>
                  </a:lnTo>
                  <a:lnTo>
                    <a:pt x="350" y="54"/>
                  </a:lnTo>
                  <a:lnTo>
                    <a:pt x="350" y="64"/>
                  </a:lnTo>
                  <a:lnTo>
                    <a:pt x="344" y="68"/>
                  </a:lnTo>
                  <a:lnTo>
                    <a:pt x="344" y="72"/>
                  </a:lnTo>
                  <a:lnTo>
                    <a:pt x="350" y="74"/>
                  </a:lnTo>
                  <a:lnTo>
                    <a:pt x="356" y="84"/>
                  </a:lnTo>
                  <a:lnTo>
                    <a:pt x="370" y="78"/>
                  </a:lnTo>
                  <a:lnTo>
                    <a:pt x="384" y="82"/>
                  </a:lnTo>
                  <a:lnTo>
                    <a:pt x="398" y="84"/>
                  </a:lnTo>
                  <a:lnTo>
                    <a:pt x="406" y="90"/>
                  </a:lnTo>
                  <a:lnTo>
                    <a:pt x="406" y="96"/>
                  </a:lnTo>
                  <a:lnTo>
                    <a:pt x="414" y="108"/>
                  </a:lnTo>
                  <a:lnTo>
                    <a:pt x="424" y="110"/>
                  </a:lnTo>
                  <a:lnTo>
                    <a:pt x="424" y="122"/>
                  </a:lnTo>
                  <a:lnTo>
                    <a:pt x="414" y="124"/>
                  </a:lnTo>
                  <a:lnTo>
                    <a:pt x="400" y="134"/>
                  </a:lnTo>
                  <a:lnTo>
                    <a:pt x="400" y="146"/>
                  </a:lnTo>
                  <a:lnTo>
                    <a:pt x="386" y="152"/>
                  </a:lnTo>
                  <a:lnTo>
                    <a:pt x="386" y="172"/>
                  </a:lnTo>
                  <a:lnTo>
                    <a:pt x="376" y="174"/>
                  </a:lnTo>
                  <a:lnTo>
                    <a:pt x="372" y="186"/>
                  </a:lnTo>
                  <a:lnTo>
                    <a:pt x="352" y="200"/>
                  </a:lnTo>
                  <a:lnTo>
                    <a:pt x="328" y="198"/>
                  </a:lnTo>
                  <a:lnTo>
                    <a:pt x="318" y="216"/>
                  </a:lnTo>
                  <a:lnTo>
                    <a:pt x="302" y="212"/>
                  </a:lnTo>
                  <a:lnTo>
                    <a:pt x="286" y="204"/>
                  </a:lnTo>
                  <a:lnTo>
                    <a:pt x="276" y="214"/>
                  </a:lnTo>
                  <a:lnTo>
                    <a:pt x="258" y="214"/>
                  </a:lnTo>
                  <a:lnTo>
                    <a:pt x="246" y="206"/>
                  </a:lnTo>
                  <a:lnTo>
                    <a:pt x="232" y="206"/>
                  </a:lnTo>
                  <a:lnTo>
                    <a:pt x="218" y="198"/>
                  </a:lnTo>
                  <a:lnTo>
                    <a:pt x="196" y="194"/>
                  </a:lnTo>
                  <a:lnTo>
                    <a:pt x="186" y="194"/>
                  </a:lnTo>
                  <a:lnTo>
                    <a:pt x="186" y="218"/>
                  </a:lnTo>
                  <a:lnTo>
                    <a:pt x="178" y="218"/>
                  </a:lnTo>
                  <a:lnTo>
                    <a:pt x="172" y="226"/>
                  </a:lnTo>
                  <a:lnTo>
                    <a:pt x="170" y="238"/>
                  </a:lnTo>
                  <a:lnTo>
                    <a:pt x="156" y="234"/>
                  </a:lnTo>
                  <a:lnTo>
                    <a:pt x="146" y="240"/>
                  </a:lnTo>
                  <a:lnTo>
                    <a:pt x="128" y="236"/>
                  </a:lnTo>
                  <a:lnTo>
                    <a:pt x="128" y="228"/>
                  </a:lnTo>
                  <a:lnTo>
                    <a:pt x="114" y="222"/>
                  </a:lnTo>
                  <a:lnTo>
                    <a:pt x="110" y="214"/>
                  </a:lnTo>
                  <a:lnTo>
                    <a:pt x="98" y="206"/>
                  </a:lnTo>
                  <a:lnTo>
                    <a:pt x="84" y="204"/>
                  </a:lnTo>
                  <a:lnTo>
                    <a:pt x="86" y="198"/>
                  </a:lnTo>
                  <a:lnTo>
                    <a:pt x="78" y="192"/>
                  </a:lnTo>
                  <a:lnTo>
                    <a:pt x="74" y="192"/>
                  </a:lnTo>
                  <a:lnTo>
                    <a:pt x="68" y="184"/>
                  </a:lnTo>
                  <a:lnTo>
                    <a:pt x="58" y="172"/>
                  </a:lnTo>
                  <a:lnTo>
                    <a:pt x="46" y="172"/>
                  </a:lnTo>
                  <a:lnTo>
                    <a:pt x="32" y="152"/>
                  </a:lnTo>
                  <a:lnTo>
                    <a:pt x="28" y="140"/>
                  </a:lnTo>
                  <a:lnTo>
                    <a:pt x="20" y="134"/>
                  </a:lnTo>
                  <a:lnTo>
                    <a:pt x="26" y="124"/>
                  </a:lnTo>
                  <a:lnTo>
                    <a:pt x="24" y="112"/>
                  </a:lnTo>
                  <a:lnTo>
                    <a:pt x="16" y="108"/>
                  </a:lnTo>
                  <a:lnTo>
                    <a:pt x="12" y="106"/>
                  </a:lnTo>
                  <a:lnTo>
                    <a:pt x="4" y="98"/>
                  </a:lnTo>
                  <a:lnTo>
                    <a:pt x="2" y="88"/>
                  </a:lnTo>
                  <a:lnTo>
                    <a:pt x="0" y="78"/>
                  </a:lnTo>
                  <a:lnTo>
                    <a:pt x="8" y="80"/>
                  </a:lnTo>
                  <a:lnTo>
                    <a:pt x="14" y="90"/>
                  </a:lnTo>
                  <a:lnTo>
                    <a:pt x="20" y="76"/>
                  </a:lnTo>
                  <a:lnTo>
                    <a:pt x="26" y="68"/>
                  </a:lnTo>
                  <a:lnTo>
                    <a:pt x="38" y="64"/>
                  </a:lnTo>
                  <a:lnTo>
                    <a:pt x="52" y="64"/>
                  </a:lnTo>
                  <a:lnTo>
                    <a:pt x="70" y="46"/>
                  </a:lnTo>
                  <a:lnTo>
                    <a:pt x="82" y="46"/>
                  </a:lnTo>
                  <a:lnTo>
                    <a:pt x="90" y="34"/>
                  </a:lnTo>
                  <a:lnTo>
                    <a:pt x="106" y="34"/>
                  </a:lnTo>
                  <a:lnTo>
                    <a:pt x="110" y="26"/>
                  </a:lnTo>
                  <a:lnTo>
                    <a:pt x="122" y="24"/>
                  </a:lnTo>
                  <a:lnTo>
                    <a:pt x="132" y="16"/>
                  </a:lnTo>
                  <a:lnTo>
                    <a:pt x="136" y="14"/>
                  </a:lnTo>
                  <a:lnTo>
                    <a:pt x="128" y="4"/>
                  </a:lnTo>
                  <a:lnTo>
                    <a:pt x="142" y="0"/>
                  </a:lnTo>
                  <a:lnTo>
                    <a:pt x="148" y="4"/>
                  </a:lnTo>
                  <a:lnTo>
                    <a:pt x="152" y="16"/>
                  </a:lnTo>
                  <a:lnTo>
                    <a:pt x="156" y="22"/>
                  </a:lnTo>
                  <a:lnTo>
                    <a:pt x="162" y="20"/>
                  </a:lnTo>
                  <a:lnTo>
                    <a:pt x="168" y="10"/>
                  </a:lnTo>
                  <a:lnTo>
                    <a:pt x="170" y="2"/>
                  </a:lnTo>
                  <a:close/>
                </a:path>
              </a:pathLst>
            </a:custGeom>
            <a:solidFill>
              <a:srgbClr val="E29815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5" name="Freeform 10"/>
            <p:cNvSpPr>
              <a:spLocks/>
            </p:cNvSpPr>
            <p:nvPr/>
          </p:nvSpPr>
          <p:spPr bwMode="gray">
            <a:xfrm>
              <a:off x="3040573" y="3758779"/>
              <a:ext cx="778743" cy="789316"/>
            </a:xfrm>
            <a:custGeom>
              <a:avLst/>
              <a:gdLst>
                <a:gd name="T0" fmla="*/ 58 w 712"/>
                <a:gd name="T1" fmla="*/ 225 h 757"/>
                <a:gd name="T2" fmla="*/ 120 w 712"/>
                <a:gd name="T3" fmla="*/ 175 h 757"/>
                <a:gd name="T4" fmla="*/ 254 w 712"/>
                <a:gd name="T5" fmla="*/ 179 h 757"/>
                <a:gd name="T6" fmla="*/ 286 w 712"/>
                <a:gd name="T7" fmla="*/ 187 h 757"/>
                <a:gd name="T8" fmla="*/ 320 w 712"/>
                <a:gd name="T9" fmla="*/ 171 h 757"/>
                <a:gd name="T10" fmla="*/ 344 w 712"/>
                <a:gd name="T11" fmla="*/ 165 h 757"/>
                <a:gd name="T12" fmla="*/ 390 w 712"/>
                <a:gd name="T13" fmla="*/ 163 h 757"/>
                <a:gd name="T14" fmla="*/ 430 w 712"/>
                <a:gd name="T15" fmla="*/ 147 h 757"/>
                <a:gd name="T16" fmla="*/ 446 w 712"/>
                <a:gd name="T17" fmla="*/ 137 h 757"/>
                <a:gd name="T18" fmla="*/ 472 w 712"/>
                <a:gd name="T19" fmla="*/ 76 h 757"/>
                <a:gd name="T20" fmla="*/ 530 w 712"/>
                <a:gd name="T21" fmla="*/ 56 h 757"/>
                <a:gd name="T22" fmla="*/ 588 w 712"/>
                <a:gd name="T23" fmla="*/ 6 h 757"/>
                <a:gd name="T24" fmla="*/ 638 w 712"/>
                <a:gd name="T25" fmla="*/ 30 h 757"/>
                <a:gd name="T26" fmla="*/ 660 w 712"/>
                <a:gd name="T27" fmla="*/ 72 h 757"/>
                <a:gd name="T28" fmla="*/ 676 w 712"/>
                <a:gd name="T29" fmla="*/ 95 h 757"/>
                <a:gd name="T30" fmla="*/ 712 w 712"/>
                <a:gd name="T31" fmla="*/ 82 h 757"/>
                <a:gd name="T32" fmla="*/ 684 w 712"/>
                <a:gd name="T33" fmla="*/ 565 h 757"/>
                <a:gd name="T34" fmla="*/ 656 w 712"/>
                <a:gd name="T35" fmla="*/ 533 h 757"/>
                <a:gd name="T36" fmla="*/ 652 w 712"/>
                <a:gd name="T37" fmla="*/ 533 h 757"/>
                <a:gd name="T38" fmla="*/ 666 w 712"/>
                <a:gd name="T39" fmla="*/ 565 h 757"/>
                <a:gd name="T40" fmla="*/ 638 w 712"/>
                <a:gd name="T41" fmla="*/ 569 h 757"/>
                <a:gd name="T42" fmla="*/ 624 w 712"/>
                <a:gd name="T43" fmla="*/ 583 h 757"/>
                <a:gd name="T44" fmla="*/ 596 w 712"/>
                <a:gd name="T45" fmla="*/ 625 h 757"/>
                <a:gd name="T46" fmla="*/ 572 w 712"/>
                <a:gd name="T47" fmla="*/ 625 h 757"/>
                <a:gd name="T48" fmla="*/ 568 w 712"/>
                <a:gd name="T49" fmla="*/ 635 h 757"/>
                <a:gd name="T50" fmla="*/ 582 w 712"/>
                <a:gd name="T51" fmla="*/ 657 h 757"/>
                <a:gd name="T52" fmla="*/ 556 w 712"/>
                <a:gd name="T53" fmla="*/ 693 h 757"/>
                <a:gd name="T54" fmla="*/ 542 w 712"/>
                <a:gd name="T55" fmla="*/ 691 h 757"/>
                <a:gd name="T56" fmla="*/ 558 w 712"/>
                <a:gd name="T57" fmla="*/ 719 h 757"/>
                <a:gd name="T58" fmla="*/ 546 w 712"/>
                <a:gd name="T59" fmla="*/ 727 h 757"/>
                <a:gd name="T60" fmla="*/ 478 w 712"/>
                <a:gd name="T61" fmla="*/ 757 h 757"/>
                <a:gd name="T62" fmla="*/ 472 w 712"/>
                <a:gd name="T63" fmla="*/ 715 h 757"/>
                <a:gd name="T64" fmla="*/ 490 w 712"/>
                <a:gd name="T65" fmla="*/ 667 h 757"/>
                <a:gd name="T66" fmla="*/ 500 w 712"/>
                <a:gd name="T67" fmla="*/ 637 h 757"/>
                <a:gd name="T68" fmla="*/ 540 w 712"/>
                <a:gd name="T69" fmla="*/ 633 h 757"/>
                <a:gd name="T70" fmla="*/ 540 w 712"/>
                <a:gd name="T71" fmla="*/ 613 h 757"/>
                <a:gd name="T72" fmla="*/ 500 w 712"/>
                <a:gd name="T73" fmla="*/ 577 h 757"/>
                <a:gd name="T74" fmla="*/ 454 w 712"/>
                <a:gd name="T75" fmla="*/ 493 h 757"/>
                <a:gd name="T76" fmla="*/ 406 w 712"/>
                <a:gd name="T77" fmla="*/ 493 h 757"/>
                <a:gd name="T78" fmla="*/ 340 w 712"/>
                <a:gd name="T79" fmla="*/ 471 h 757"/>
                <a:gd name="T80" fmla="*/ 290 w 712"/>
                <a:gd name="T81" fmla="*/ 499 h 757"/>
                <a:gd name="T82" fmla="*/ 208 w 712"/>
                <a:gd name="T83" fmla="*/ 559 h 757"/>
                <a:gd name="T84" fmla="*/ 150 w 712"/>
                <a:gd name="T85" fmla="*/ 563 h 757"/>
                <a:gd name="T86" fmla="*/ 70 w 712"/>
                <a:gd name="T87" fmla="*/ 567 h 757"/>
                <a:gd name="T88" fmla="*/ 38 w 712"/>
                <a:gd name="T89" fmla="*/ 573 h 757"/>
                <a:gd name="T90" fmla="*/ 2 w 712"/>
                <a:gd name="T91" fmla="*/ 549 h 757"/>
                <a:gd name="T92" fmla="*/ 16 w 712"/>
                <a:gd name="T93" fmla="*/ 483 h 757"/>
                <a:gd name="T94" fmla="*/ 24 w 712"/>
                <a:gd name="T95" fmla="*/ 455 h 757"/>
                <a:gd name="T96" fmla="*/ 58 w 712"/>
                <a:gd name="T97" fmla="*/ 357 h 757"/>
                <a:gd name="T98" fmla="*/ 84 w 712"/>
                <a:gd name="T99" fmla="*/ 315 h 757"/>
                <a:gd name="T100" fmla="*/ 82 w 712"/>
                <a:gd name="T101" fmla="*/ 293 h 757"/>
                <a:gd name="T102" fmla="*/ 44 w 712"/>
                <a:gd name="T103" fmla="*/ 247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12" h="757">
                  <a:moveTo>
                    <a:pt x="34" y="233"/>
                  </a:moveTo>
                  <a:lnTo>
                    <a:pt x="42" y="221"/>
                  </a:lnTo>
                  <a:lnTo>
                    <a:pt x="50" y="221"/>
                  </a:lnTo>
                  <a:lnTo>
                    <a:pt x="58" y="225"/>
                  </a:lnTo>
                  <a:lnTo>
                    <a:pt x="72" y="209"/>
                  </a:lnTo>
                  <a:lnTo>
                    <a:pt x="74" y="195"/>
                  </a:lnTo>
                  <a:lnTo>
                    <a:pt x="104" y="189"/>
                  </a:lnTo>
                  <a:lnTo>
                    <a:pt x="120" y="175"/>
                  </a:lnTo>
                  <a:lnTo>
                    <a:pt x="162" y="169"/>
                  </a:lnTo>
                  <a:lnTo>
                    <a:pt x="198" y="171"/>
                  </a:lnTo>
                  <a:lnTo>
                    <a:pt x="242" y="167"/>
                  </a:lnTo>
                  <a:lnTo>
                    <a:pt x="254" y="179"/>
                  </a:lnTo>
                  <a:lnTo>
                    <a:pt x="266" y="175"/>
                  </a:lnTo>
                  <a:lnTo>
                    <a:pt x="276" y="175"/>
                  </a:lnTo>
                  <a:lnTo>
                    <a:pt x="278" y="187"/>
                  </a:lnTo>
                  <a:lnTo>
                    <a:pt x="286" y="187"/>
                  </a:lnTo>
                  <a:lnTo>
                    <a:pt x="288" y="173"/>
                  </a:lnTo>
                  <a:lnTo>
                    <a:pt x="302" y="173"/>
                  </a:lnTo>
                  <a:lnTo>
                    <a:pt x="308" y="163"/>
                  </a:lnTo>
                  <a:lnTo>
                    <a:pt x="320" y="171"/>
                  </a:lnTo>
                  <a:lnTo>
                    <a:pt x="328" y="163"/>
                  </a:lnTo>
                  <a:lnTo>
                    <a:pt x="336" y="173"/>
                  </a:lnTo>
                  <a:lnTo>
                    <a:pt x="344" y="173"/>
                  </a:lnTo>
                  <a:lnTo>
                    <a:pt x="344" y="165"/>
                  </a:lnTo>
                  <a:lnTo>
                    <a:pt x="362" y="151"/>
                  </a:lnTo>
                  <a:lnTo>
                    <a:pt x="372" y="163"/>
                  </a:lnTo>
                  <a:lnTo>
                    <a:pt x="380" y="171"/>
                  </a:lnTo>
                  <a:lnTo>
                    <a:pt x="390" y="163"/>
                  </a:lnTo>
                  <a:lnTo>
                    <a:pt x="396" y="155"/>
                  </a:lnTo>
                  <a:lnTo>
                    <a:pt x="406" y="159"/>
                  </a:lnTo>
                  <a:lnTo>
                    <a:pt x="422" y="147"/>
                  </a:lnTo>
                  <a:lnTo>
                    <a:pt x="430" y="147"/>
                  </a:lnTo>
                  <a:lnTo>
                    <a:pt x="438" y="155"/>
                  </a:lnTo>
                  <a:lnTo>
                    <a:pt x="448" y="161"/>
                  </a:lnTo>
                  <a:lnTo>
                    <a:pt x="456" y="155"/>
                  </a:lnTo>
                  <a:lnTo>
                    <a:pt x="446" y="137"/>
                  </a:lnTo>
                  <a:lnTo>
                    <a:pt x="446" y="117"/>
                  </a:lnTo>
                  <a:lnTo>
                    <a:pt x="450" y="93"/>
                  </a:lnTo>
                  <a:lnTo>
                    <a:pt x="456" y="78"/>
                  </a:lnTo>
                  <a:lnTo>
                    <a:pt x="472" y="76"/>
                  </a:lnTo>
                  <a:lnTo>
                    <a:pt x="484" y="66"/>
                  </a:lnTo>
                  <a:lnTo>
                    <a:pt x="504" y="60"/>
                  </a:lnTo>
                  <a:lnTo>
                    <a:pt x="514" y="64"/>
                  </a:lnTo>
                  <a:lnTo>
                    <a:pt x="530" y="56"/>
                  </a:lnTo>
                  <a:lnTo>
                    <a:pt x="530" y="30"/>
                  </a:lnTo>
                  <a:lnTo>
                    <a:pt x="560" y="28"/>
                  </a:lnTo>
                  <a:lnTo>
                    <a:pt x="574" y="10"/>
                  </a:lnTo>
                  <a:lnTo>
                    <a:pt x="588" y="6"/>
                  </a:lnTo>
                  <a:lnTo>
                    <a:pt x="596" y="8"/>
                  </a:lnTo>
                  <a:lnTo>
                    <a:pt x="608" y="0"/>
                  </a:lnTo>
                  <a:lnTo>
                    <a:pt x="632" y="12"/>
                  </a:lnTo>
                  <a:lnTo>
                    <a:pt x="638" y="30"/>
                  </a:lnTo>
                  <a:lnTo>
                    <a:pt x="650" y="34"/>
                  </a:lnTo>
                  <a:lnTo>
                    <a:pt x="666" y="46"/>
                  </a:lnTo>
                  <a:lnTo>
                    <a:pt x="648" y="58"/>
                  </a:lnTo>
                  <a:lnTo>
                    <a:pt x="660" y="72"/>
                  </a:lnTo>
                  <a:lnTo>
                    <a:pt x="662" y="82"/>
                  </a:lnTo>
                  <a:lnTo>
                    <a:pt x="668" y="82"/>
                  </a:lnTo>
                  <a:lnTo>
                    <a:pt x="668" y="93"/>
                  </a:lnTo>
                  <a:lnTo>
                    <a:pt x="676" y="95"/>
                  </a:lnTo>
                  <a:lnTo>
                    <a:pt x="692" y="88"/>
                  </a:lnTo>
                  <a:lnTo>
                    <a:pt x="696" y="90"/>
                  </a:lnTo>
                  <a:lnTo>
                    <a:pt x="702" y="90"/>
                  </a:lnTo>
                  <a:lnTo>
                    <a:pt x="712" y="82"/>
                  </a:lnTo>
                  <a:lnTo>
                    <a:pt x="712" y="559"/>
                  </a:lnTo>
                  <a:lnTo>
                    <a:pt x="704" y="561"/>
                  </a:lnTo>
                  <a:lnTo>
                    <a:pt x="694" y="565"/>
                  </a:lnTo>
                  <a:lnTo>
                    <a:pt x="684" y="565"/>
                  </a:lnTo>
                  <a:lnTo>
                    <a:pt x="670" y="561"/>
                  </a:lnTo>
                  <a:lnTo>
                    <a:pt x="666" y="549"/>
                  </a:lnTo>
                  <a:lnTo>
                    <a:pt x="664" y="539"/>
                  </a:lnTo>
                  <a:lnTo>
                    <a:pt x="656" y="533"/>
                  </a:lnTo>
                  <a:lnTo>
                    <a:pt x="652" y="525"/>
                  </a:lnTo>
                  <a:lnTo>
                    <a:pt x="642" y="517"/>
                  </a:lnTo>
                  <a:lnTo>
                    <a:pt x="648" y="525"/>
                  </a:lnTo>
                  <a:lnTo>
                    <a:pt x="652" y="533"/>
                  </a:lnTo>
                  <a:lnTo>
                    <a:pt x="658" y="539"/>
                  </a:lnTo>
                  <a:lnTo>
                    <a:pt x="660" y="545"/>
                  </a:lnTo>
                  <a:lnTo>
                    <a:pt x="664" y="557"/>
                  </a:lnTo>
                  <a:lnTo>
                    <a:pt x="666" y="565"/>
                  </a:lnTo>
                  <a:lnTo>
                    <a:pt x="662" y="569"/>
                  </a:lnTo>
                  <a:lnTo>
                    <a:pt x="652" y="571"/>
                  </a:lnTo>
                  <a:lnTo>
                    <a:pt x="642" y="575"/>
                  </a:lnTo>
                  <a:lnTo>
                    <a:pt x="638" y="569"/>
                  </a:lnTo>
                  <a:lnTo>
                    <a:pt x="636" y="565"/>
                  </a:lnTo>
                  <a:lnTo>
                    <a:pt x="634" y="573"/>
                  </a:lnTo>
                  <a:lnTo>
                    <a:pt x="632" y="581"/>
                  </a:lnTo>
                  <a:lnTo>
                    <a:pt x="624" y="583"/>
                  </a:lnTo>
                  <a:lnTo>
                    <a:pt x="612" y="585"/>
                  </a:lnTo>
                  <a:lnTo>
                    <a:pt x="598" y="595"/>
                  </a:lnTo>
                  <a:lnTo>
                    <a:pt x="596" y="609"/>
                  </a:lnTo>
                  <a:lnTo>
                    <a:pt x="596" y="625"/>
                  </a:lnTo>
                  <a:lnTo>
                    <a:pt x="594" y="639"/>
                  </a:lnTo>
                  <a:lnTo>
                    <a:pt x="588" y="641"/>
                  </a:lnTo>
                  <a:lnTo>
                    <a:pt x="580" y="631"/>
                  </a:lnTo>
                  <a:lnTo>
                    <a:pt x="572" y="625"/>
                  </a:lnTo>
                  <a:lnTo>
                    <a:pt x="562" y="623"/>
                  </a:lnTo>
                  <a:lnTo>
                    <a:pt x="558" y="625"/>
                  </a:lnTo>
                  <a:lnTo>
                    <a:pt x="560" y="629"/>
                  </a:lnTo>
                  <a:lnTo>
                    <a:pt x="568" y="635"/>
                  </a:lnTo>
                  <a:lnTo>
                    <a:pt x="578" y="639"/>
                  </a:lnTo>
                  <a:lnTo>
                    <a:pt x="586" y="647"/>
                  </a:lnTo>
                  <a:lnTo>
                    <a:pt x="588" y="653"/>
                  </a:lnTo>
                  <a:lnTo>
                    <a:pt x="582" y="657"/>
                  </a:lnTo>
                  <a:lnTo>
                    <a:pt x="580" y="671"/>
                  </a:lnTo>
                  <a:lnTo>
                    <a:pt x="576" y="675"/>
                  </a:lnTo>
                  <a:lnTo>
                    <a:pt x="570" y="679"/>
                  </a:lnTo>
                  <a:lnTo>
                    <a:pt x="556" y="693"/>
                  </a:lnTo>
                  <a:lnTo>
                    <a:pt x="558" y="699"/>
                  </a:lnTo>
                  <a:lnTo>
                    <a:pt x="552" y="701"/>
                  </a:lnTo>
                  <a:lnTo>
                    <a:pt x="546" y="691"/>
                  </a:lnTo>
                  <a:lnTo>
                    <a:pt x="542" y="691"/>
                  </a:lnTo>
                  <a:lnTo>
                    <a:pt x="544" y="701"/>
                  </a:lnTo>
                  <a:lnTo>
                    <a:pt x="548" y="711"/>
                  </a:lnTo>
                  <a:lnTo>
                    <a:pt x="554" y="715"/>
                  </a:lnTo>
                  <a:lnTo>
                    <a:pt x="558" y="719"/>
                  </a:lnTo>
                  <a:lnTo>
                    <a:pt x="562" y="727"/>
                  </a:lnTo>
                  <a:lnTo>
                    <a:pt x="562" y="735"/>
                  </a:lnTo>
                  <a:lnTo>
                    <a:pt x="558" y="741"/>
                  </a:lnTo>
                  <a:lnTo>
                    <a:pt x="546" y="727"/>
                  </a:lnTo>
                  <a:lnTo>
                    <a:pt x="530" y="727"/>
                  </a:lnTo>
                  <a:lnTo>
                    <a:pt x="518" y="739"/>
                  </a:lnTo>
                  <a:lnTo>
                    <a:pt x="496" y="757"/>
                  </a:lnTo>
                  <a:lnTo>
                    <a:pt x="478" y="757"/>
                  </a:lnTo>
                  <a:lnTo>
                    <a:pt x="456" y="743"/>
                  </a:lnTo>
                  <a:lnTo>
                    <a:pt x="460" y="735"/>
                  </a:lnTo>
                  <a:lnTo>
                    <a:pt x="474" y="735"/>
                  </a:lnTo>
                  <a:lnTo>
                    <a:pt x="472" y="715"/>
                  </a:lnTo>
                  <a:lnTo>
                    <a:pt x="484" y="701"/>
                  </a:lnTo>
                  <a:lnTo>
                    <a:pt x="480" y="687"/>
                  </a:lnTo>
                  <a:lnTo>
                    <a:pt x="492" y="679"/>
                  </a:lnTo>
                  <a:lnTo>
                    <a:pt x="490" y="667"/>
                  </a:lnTo>
                  <a:lnTo>
                    <a:pt x="492" y="661"/>
                  </a:lnTo>
                  <a:lnTo>
                    <a:pt x="476" y="641"/>
                  </a:lnTo>
                  <a:lnTo>
                    <a:pt x="492" y="627"/>
                  </a:lnTo>
                  <a:lnTo>
                    <a:pt x="500" y="637"/>
                  </a:lnTo>
                  <a:lnTo>
                    <a:pt x="516" y="627"/>
                  </a:lnTo>
                  <a:lnTo>
                    <a:pt x="528" y="631"/>
                  </a:lnTo>
                  <a:lnTo>
                    <a:pt x="532" y="625"/>
                  </a:lnTo>
                  <a:lnTo>
                    <a:pt x="540" y="633"/>
                  </a:lnTo>
                  <a:lnTo>
                    <a:pt x="546" y="627"/>
                  </a:lnTo>
                  <a:lnTo>
                    <a:pt x="556" y="627"/>
                  </a:lnTo>
                  <a:lnTo>
                    <a:pt x="558" y="623"/>
                  </a:lnTo>
                  <a:lnTo>
                    <a:pt x="540" y="613"/>
                  </a:lnTo>
                  <a:lnTo>
                    <a:pt x="542" y="607"/>
                  </a:lnTo>
                  <a:lnTo>
                    <a:pt x="534" y="587"/>
                  </a:lnTo>
                  <a:lnTo>
                    <a:pt x="520" y="587"/>
                  </a:lnTo>
                  <a:lnTo>
                    <a:pt x="500" y="577"/>
                  </a:lnTo>
                  <a:lnTo>
                    <a:pt x="480" y="567"/>
                  </a:lnTo>
                  <a:lnTo>
                    <a:pt x="468" y="543"/>
                  </a:lnTo>
                  <a:lnTo>
                    <a:pt x="464" y="505"/>
                  </a:lnTo>
                  <a:lnTo>
                    <a:pt x="454" y="493"/>
                  </a:lnTo>
                  <a:lnTo>
                    <a:pt x="442" y="501"/>
                  </a:lnTo>
                  <a:lnTo>
                    <a:pt x="432" y="485"/>
                  </a:lnTo>
                  <a:lnTo>
                    <a:pt x="414" y="487"/>
                  </a:lnTo>
                  <a:lnTo>
                    <a:pt x="406" y="493"/>
                  </a:lnTo>
                  <a:lnTo>
                    <a:pt x="400" y="481"/>
                  </a:lnTo>
                  <a:lnTo>
                    <a:pt x="388" y="487"/>
                  </a:lnTo>
                  <a:lnTo>
                    <a:pt x="360" y="471"/>
                  </a:lnTo>
                  <a:lnTo>
                    <a:pt x="340" y="471"/>
                  </a:lnTo>
                  <a:lnTo>
                    <a:pt x="324" y="487"/>
                  </a:lnTo>
                  <a:lnTo>
                    <a:pt x="300" y="491"/>
                  </a:lnTo>
                  <a:lnTo>
                    <a:pt x="302" y="499"/>
                  </a:lnTo>
                  <a:lnTo>
                    <a:pt x="290" y="499"/>
                  </a:lnTo>
                  <a:lnTo>
                    <a:pt x="288" y="507"/>
                  </a:lnTo>
                  <a:lnTo>
                    <a:pt x="272" y="517"/>
                  </a:lnTo>
                  <a:lnTo>
                    <a:pt x="264" y="539"/>
                  </a:lnTo>
                  <a:lnTo>
                    <a:pt x="208" y="559"/>
                  </a:lnTo>
                  <a:lnTo>
                    <a:pt x="200" y="581"/>
                  </a:lnTo>
                  <a:lnTo>
                    <a:pt x="190" y="583"/>
                  </a:lnTo>
                  <a:lnTo>
                    <a:pt x="168" y="563"/>
                  </a:lnTo>
                  <a:lnTo>
                    <a:pt x="150" y="563"/>
                  </a:lnTo>
                  <a:lnTo>
                    <a:pt x="148" y="573"/>
                  </a:lnTo>
                  <a:lnTo>
                    <a:pt x="86" y="573"/>
                  </a:lnTo>
                  <a:lnTo>
                    <a:pt x="78" y="567"/>
                  </a:lnTo>
                  <a:lnTo>
                    <a:pt x="70" y="567"/>
                  </a:lnTo>
                  <a:lnTo>
                    <a:pt x="68" y="577"/>
                  </a:lnTo>
                  <a:lnTo>
                    <a:pt x="58" y="581"/>
                  </a:lnTo>
                  <a:lnTo>
                    <a:pt x="50" y="571"/>
                  </a:lnTo>
                  <a:lnTo>
                    <a:pt x="38" y="573"/>
                  </a:lnTo>
                  <a:lnTo>
                    <a:pt x="30" y="563"/>
                  </a:lnTo>
                  <a:lnTo>
                    <a:pt x="18" y="565"/>
                  </a:lnTo>
                  <a:lnTo>
                    <a:pt x="16" y="557"/>
                  </a:lnTo>
                  <a:lnTo>
                    <a:pt x="2" y="549"/>
                  </a:lnTo>
                  <a:lnTo>
                    <a:pt x="0" y="533"/>
                  </a:lnTo>
                  <a:lnTo>
                    <a:pt x="8" y="517"/>
                  </a:lnTo>
                  <a:lnTo>
                    <a:pt x="10" y="495"/>
                  </a:lnTo>
                  <a:lnTo>
                    <a:pt x="16" y="483"/>
                  </a:lnTo>
                  <a:lnTo>
                    <a:pt x="34" y="483"/>
                  </a:lnTo>
                  <a:lnTo>
                    <a:pt x="36" y="475"/>
                  </a:lnTo>
                  <a:lnTo>
                    <a:pt x="26" y="469"/>
                  </a:lnTo>
                  <a:lnTo>
                    <a:pt x="24" y="455"/>
                  </a:lnTo>
                  <a:lnTo>
                    <a:pt x="18" y="441"/>
                  </a:lnTo>
                  <a:lnTo>
                    <a:pt x="16" y="431"/>
                  </a:lnTo>
                  <a:lnTo>
                    <a:pt x="42" y="381"/>
                  </a:lnTo>
                  <a:lnTo>
                    <a:pt x="58" y="357"/>
                  </a:lnTo>
                  <a:lnTo>
                    <a:pt x="66" y="345"/>
                  </a:lnTo>
                  <a:lnTo>
                    <a:pt x="78" y="341"/>
                  </a:lnTo>
                  <a:lnTo>
                    <a:pt x="84" y="329"/>
                  </a:lnTo>
                  <a:lnTo>
                    <a:pt x="84" y="315"/>
                  </a:lnTo>
                  <a:lnTo>
                    <a:pt x="74" y="305"/>
                  </a:lnTo>
                  <a:lnTo>
                    <a:pt x="74" y="299"/>
                  </a:lnTo>
                  <a:lnTo>
                    <a:pt x="82" y="297"/>
                  </a:lnTo>
                  <a:lnTo>
                    <a:pt x="82" y="293"/>
                  </a:lnTo>
                  <a:lnTo>
                    <a:pt x="60" y="275"/>
                  </a:lnTo>
                  <a:lnTo>
                    <a:pt x="60" y="269"/>
                  </a:lnTo>
                  <a:lnTo>
                    <a:pt x="44" y="257"/>
                  </a:lnTo>
                  <a:lnTo>
                    <a:pt x="44" y="247"/>
                  </a:lnTo>
                  <a:lnTo>
                    <a:pt x="38" y="235"/>
                  </a:lnTo>
                  <a:lnTo>
                    <a:pt x="34" y="233"/>
                  </a:lnTo>
                  <a:close/>
                </a:path>
              </a:pathLst>
            </a:custGeom>
            <a:solidFill>
              <a:srgbClr val="FF000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6" name="Freeform 11"/>
            <p:cNvSpPr>
              <a:spLocks/>
            </p:cNvSpPr>
            <p:nvPr/>
          </p:nvSpPr>
          <p:spPr bwMode="gray">
            <a:xfrm>
              <a:off x="3027193" y="3485863"/>
              <a:ext cx="582049" cy="515062"/>
            </a:xfrm>
            <a:custGeom>
              <a:avLst/>
              <a:gdLst>
                <a:gd name="T0" fmla="*/ 28 w 532"/>
                <a:gd name="T1" fmla="*/ 260 h 495"/>
                <a:gd name="T2" fmla="*/ 62 w 532"/>
                <a:gd name="T3" fmla="*/ 248 h 495"/>
                <a:gd name="T4" fmla="*/ 68 w 532"/>
                <a:gd name="T5" fmla="*/ 234 h 495"/>
                <a:gd name="T6" fmla="*/ 92 w 532"/>
                <a:gd name="T7" fmla="*/ 218 h 495"/>
                <a:gd name="T8" fmla="*/ 108 w 532"/>
                <a:gd name="T9" fmla="*/ 212 h 495"/>
                <a:gd name="T10" fmla="*/ 124 w 532"/>
                <a:gd name="T11" fmla="*/ 212 h 495"/>
                <a:gd name="T12" fmla="*/ 110 w 532"/>
                <a:gd name="T13" fmla="*/ 188 h 495"/>
                <a:gd name="T14" fmla="*/ 110 w 532"/>
                <a:gd name="T15" fmla="*/ 152 h 495"/>
                <a:gd name="T16" fmla="*/ 128 w 532"/>
                <a:gd name="T17" fmla="*/ 122 h 495"/>
                <a:gd name="T18" fmla="*/ 154 w 532"/>
                <a:gd name="T19" fmla="*/ 98 h 495"/>
                <a:gd name="T20" fmla="*/ 150 w 532"/>
                <a:gd name="T21" fmla="*/ 58 h 495"/>
                <a:gd name="T22" fmla="*/ 166 w 532"/>
                <a:gd name="T23" fmla="*/ 48 h 495"/>
                <a:gd name="T24" fmla="*/ 200 w 532"/>
                <a:gd name="T25" fmla="*/ 2 h 495"/>
                <a:gd name="T26" fmla="*/ 220 w 532"/>
                <a:gd name="T27" fmla="*/ 6 h 495"/>
                <a:gd name="T28" fmla="*/ 242 w 532"/>
                <a:gd name="T29" fmla="*/ 12 h 495"/>
                <a:gd name="T30" fmla="*/ 280 w 532"/>
                <a:gd name="T31" fmla="*/ 6 h 495"/>
                <a:gd name="T32" fmla="*/ 300 w 532"/>
                <a:gd name="T33" fmla="*/ 12 h 495"/>
                <a:gd name="T34" fmla="*/ 350 w 532"/>
                <a:gd name="T35" fmla="*/ 8 h 495"/>
                <a:gd name="T36" fmla="*/ 374 w 532"/>
                <a:gd name="T37" fmla="*/ 30 h 495"/>
                <a:gd name="T38" fmla="*/ 384 w 532"/>
                <a:gd name="T39" fmla="*/ 72 h 495"/>
                <a:gd name="T40" fmla="*/ 408 w 532"/>
                <a:gd name="T41" fmla="*/ 100 h 495"/>
                <a:gd name="T42" fmla="*/ 428 w 532"/>
                <a:gd name="T43" fmla="*/ 130 h 495"/>
                <a:gd name="T44" fmla="*/ 464 w 532"/>
                <a:gd name="T45" fmla="*/ 152 h 495"/>
                <a:gd name="T46" fmla="*/ 484 w 532"/>
                <a:gd name="T47" fmla="*/ 158 h 495"/>
                <a:gd name="T48" fmla="*/ 508 w 532"/>
                <a:gd name="T49" fmla="*/ 174 h 495"/>
                <a:gd name="T50" fmla="*/ 518 w 532"/>
                <a:gd name="T51" fmla="*/ 198 h 495"/>
                <a:gd name="T52" fmla="*/ 500 w 532"/>
                <a:gd name="T53" fmla="*/ 228 h 495"/>
                <a:gd name="T54" fmla="*/ 472 w 532"/>
                <a:gd name="T55" fmla="*/ 222 h 495"/>
                <a:gd name="T56" fmla="*/ 470 w 532"/>
                <a:gd name="T57" fmla="*/ 258 h 495"/>
                <a:gd name="T58" fmla="*/ 490 w 532"/>
                <a:gd name="T59" fmla="*/ 284 h 495"/>
                <a:gd name="T60" fmla="*/ 516 w 532"/>
                <a:gd name="T61" fmla="*/ 322 h 495"/>
                <a:gd name="T62" fmla="*/ 468 w 532"/>
                <a:gd name="T63" fmla="*/ 340 h 495"/>
                <a:gd name="T64" fmla="*/ 458 w 532"/>
                <a:gd name="T65" fmla="*/ 399 h 495"/>
                <a:gd name="T66" fmla="*/ 450 w 532"/>
                <a:gd name="T67" fmla="*/ 417 h 495"/>
                <a:gd name="T68" fmla="*/ 418 w 532"/>
                <a:gd name="T69" fmla="*/ 421 h 495"/>
                <a:gd name="T70" fmla="*/ 392 w 532"/>
                <a:gd name="T71" fmla="*/ 433 h 495"/>
                <a:gd name="T72" fmla="*/ 356 w 532"/>
                <a:gd name="T73" fmla="*/ 427 h 495"/>
                <a:gd name="T74" fmla="*/ 340 w 532"/>
                <a:gd name="T75" fmla="*/ 425 h 495"/>
                <a:gd name="T76" fmla="*/ 314 w 532"/>
                <a:gd name="T77" fmla="*/ 435 h 495"/>
                <a:gd name="T78" fmla="*/ 290 w 532"/>
                <a:gd name="T79" fmla="*/ 449 h 495"/>
                <a:gd name="T80" fmla="*/ 266 w 532"/>
                <a:gd name="T81" fmla="*/ 441 h 495"/>
                <a:gd name="T82" fmla="*/ 182 w 532"/>
                <a:gd name="T83" fmla="*/ 431 h 495"/>
                <a:gd name="T84" fmla="*/ 116 w 532"/>
                <a:gd name="T85" fmla="*/ 451 h 495"/>
                <a:gd name="T86" fmla="*/ 70 w 532"/>
                <a:gd name="T87" fmla="*/ 487 h 495"/>
                <a:gd name="T88" fmla="*/ 46 w 532"/>
                <a:gd name="T89" fmla="*/ 495 h 495"/>
                <a:gd name="T90" fmla="*/ 46 w 532"/>
                <a:gd name="T91" fmla="*/ 475 h 495"/>
                <a:gd name="T92" fmla="*/ 26 w 532"/>
                <a:gd name="T93" fmla="*/ 435 h 495"/>
                <a:gd name="T94" fmla="*/ 18 w 532"/>
                <a:gd name="T95" fmla="*/ 403 h 495"/>
                <a:gd name="T96" fmla="*/ 36 w 532"/>
                <a:gd name="T97" fmla="*/ 338 h 495"/>
                <a:gd name="T98" fmla="*/ 0 w 532"/>
                <a:gd name="T99" fmla="*/ 27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2" h="495">
                  <a:moveTo>
                    <a:pt x="0" y="270"/>
                  </a:moveTo>
                  <a:lnTo>
                    <a:pt x="8" y="268"/>
                  </a:lnTo>
                  <a:lnTo>
                    <a:pt x="28" y="260"/>
                  </a:lnTo>
                  <a:lnTo>
                    <a:pt x="38" y="256"/>
                  </a:lnTo>
                  <a:lnTo>
                    <a:pt x="50" y="262"/>
                  </a:lnTo>
                  <a:lnTo>
                    <a:pt x="62" y="248"/>
                  </a:lnTo>
                  <a:lnTo>
                    <a:pt x="74" y="248"/>
                  </a:lnTo>
                  <a:lnTo>
                    <a:pt x="74" y="242"/>
                  </a:lnTo>
                  <a:lnTo>
                    <a:pt x="68" y="234"/>
                  </a:lnTo>
                  <a:lnTo>
                    <a:pt x="74" y="230"/>
                  </a:lnTo>
                  <a:lnTo>
                    <a:pt x="82" y="230"/>
                  </a:lnTo>
                  <a:lnTo>
                    <a:pt x="92" y="218"/>
                  </a:lnTo>
                  <a:lnTo>
                    <a:pt x="100" y="216"/>
                  </a:lnTo>
                  <a:lnTo>
                    <a:pt x="102" y="210"/>
                  </a:lnTo>
                  <a:lnTo>
                    <a:pt x="108" y="212"/>
                  </a:lnTo>
                  <a:lnTo>
                    <a:pt x="110" y="222"/>
                  </a:lnTo>
                  <a:lnTo>
                    <a:pt x="120" y="220"/>
                  </a:lnTo>
                  <a:lnTo>
                    <a:pt x="124" y="212"/>
                  </a:lnTo>
                  <a:lnTo>
                    <a:pt x="120" y="206"/>
                  </a:lnTo>
                  <a:lnTo>
                    <a:pt x="108" y="204"/>
                  </a:lnTo>
                  <a:lnTo>
                    <a:pt x="110" y="188"/>
                  </a:lnTo>
                  <a:lnTo>
                    <a:pt x="114" y="178"/>
                  </a:lnTo>
                  <a:lnTo>
                    <a:pt x="108" y="168"/>
                  </a:lnTo>
                  <a:lnTo>
                    <a:pt x="110" y="152"/>
                  </a:lnTo>
                  <a:lnTo>
                    <a:pt x="116" y="142"/>
                  </a:lnTo>
                  <a:lnTo>
                    <a:pt x="128" y="134"/>
                  </a:lnTo>
                  <a:lnTo>
                    <a:pt x="128" y="122"/>
                  </a:lnTo>
                  <a:lnTo>
                    <a:pt x="138" y="114"/>
                  </a:lnTo>
                  <a:lnTo>
                    <a:pt x="148" y="116"/>
                  </a:lnTo>
                  <a:lnTo>
                    <a:pt x="154" y="98"/>
                  </a:lnTo>
                  <a:lnTo>
                    <a:pt x="134" y="96"/>
                  </a:lnTo>
                  <a:lnTo>
                    <a:pt x="136" y="64"/>
                  </a:lnTo>
                  <a:lnTo>
                    <a:pt x="150" y="58"/>
                  </a:lnTo>
                  <a:lnTo>
                    <a:pt x="148" y="50"/>
                  </a:lnTo>
                  <a:lnTo>
                    <a:pt x="156" y="44"/>
                  </a:lnTo>
                  <a:lnTo>
                    <a:pt x="166" y="48"/>
                  </a:lnTo>
                  <a:lnTo>
                    <a:pt x="186" y="44"/>
                  </a:lnTo>
                  <a:lnTo>
                    <a:pt x="188" y="22"/>
                  </a:lnTo>
                  <a:lnTo>
                    <a:pt x="200" y="2"/>
                  </a:lnTo>
                  <a:lnTo>
                    <a:pt x="208" y="0"/>
                  </a:lnTo>
                  <a:lnTo>
                    <a:pt x="212" y="6"/>
                  </a:lnTo>
                  <a:lnTo>
                    <a:pt x="220" y="6"/>
                  </a:lnTo>
                  <a:lnTo>
                    <a:pt x="222" y="2"/>
                  </a:lnTo>
                  <a:lnTo>
                    <a:pt x="234" y="2"/>
                  </a:lnTo>
                  <a:lnTo>
                    <a:pt x="242" y="12"/>
                  </a:lnTo>
                  <a:lnTo>
                    <a:pt x="258" y="0"/>
                  </a:lnTo>
                  <a:lnTo>
                    <a:pt x="276" y="0"/>
                  </a:lnTo>
                  <a:lnTo>
                    <a:pt x="280" y="6"/>
                  </a:lnTo>
                  <a:lnTo>
                    <a:pt x="278" y="16"/>
                  </a:lnTo>
                  <a:lnTo>
                    <a:pt x="290" y="26"/>
                  </a:lnTo>
                  <a:lnTo>
                    <a:pt x="300" y="12"/>
                  </a:lnTo>
                  <a:lnTo>
                    <a:pt x="310" y="2"/>
                  </a:lnTo>
                  <a:lnTo>
                    <a:pt x="334" y="0"/>
                  </a:lnTo>
                  <a:lnTo>
                    <a:pt x="350" y="8"/>
                  </a:lnTo>
                  <a:lnTo>
                    <a:pt x="358" y="16"/>
                  </a:lnTo>
                  <a:lnTo>
                    <a:pt x="368" y="12"/>
                  </a:lnTo>
                  <a:lnTo>
                    <a:pt x="374" y="30"/>
                  </a:lnTo>
                  <a:lnTo>
                    <a:pt x="370" y="40"/>
                  </a:lnTo>
                  <a:lnTo>
                    <a:pt x="386" y="58"/>
                  </a:lnTo>
                  <a:lnTo>
                    <a:pt x="384" y="72"/>
                  </a:lnTo>
                  <a:lnTo>
                    <a:pt x="382" y="86"/>
                  </a:lnTo>
                  <a:lnTo>
                    <a:pt x="394" y="94"/>
                  </a:lnTo>
                  <a:lnTo>
                    <a:pt x="408" y="100"/>
                  </a:lnTo>
                  <a:lnTo>
                    <a:pt x="406" y="110"/>
                  </a:lnTo>
                  <a:lnTo>
                    <a:pt x="418" y="116"/>
                  </a:lnTo>
                  <a:lnTo>
                    <a:pt x="428" y="130"/>
                  </a:lnTo>
                  <a:lnTo>
                    <a:pt x="444" y="138"/>
                  </a:lnTo>
                  <a:lnTo>
                    <a:pt x="462" y="140"/>
                  </a:lnTo>
                  <a:lnTo>
                    <a:pt x="464" y="152"/>
                  </a:lnTo>
                  <a:lnTo>
                    <a:pt x="464" y="166"/>
                  </a:lnTo>
                  <a:lnTo>
                    <a:pt x="476" y="164"/>
                  </a:lnTo>
                  <a:lnTo>
                    <a:pt x="484" y="158"/>
                  </a:lnTo>
                  <a:lnTo>
                    <a:pt x="498" y="158"/>
                  </a:lnTo>
                  <a:lnTo>
                    <a:pt x="504" y="162"/>
                  </a:lnTo>
                  <a:lnTo>
                    <a:pt x="508" y="174"/>
                  </a:lnTo>
                  <a:lnTo>
                    <a:pt x="532" y="186"/>
                  </a:lnTo>
                  <a:lnTo>
                    <a:pt x="530" y="194"/>
                  </a:lnTo>
                  <a:lnTo>
                    <a:pt x="518" y="198"/>
                  </a:lnTo>
                  <a:lnTo>
                    <a:pt x="518" y="208"/>
                  </a:lnTo>
                  <a:lnTo>
                    <a:pt x="508" y="226"/>
                  </a:lnTo>
                  <a:lnTo>
                    <a:pt x="500" y="228"/>
                  </a:lnTo>
                  <a:lnTo>
                    <a:pt x="492" y="228"/>
                  </a:lnTo>
                  <a:lnTo>
                    <a:pt x="480" y="222"/>
                  </a:lnTo>
                  <a:lnTo>
                    <a:pt x="472" y="222"/>
                  </a:lnTo>
                  <a:lnTo>
                    <a:pt x="462" y="226"/>
                  </a:lnTo>
                  <a:lnTo>
                    <a:pt x="460" y="244"/>
                  </a:lnTo>
                  <a:lnTo>
                    <a:pt x="470" y="258"/>
                  </a:lnTo>
                  <a:lnTo>
                    <a:pt x="482" y="262"/>
                  </a:lnTo>
                  <a:lnTo>
                    <a:pt x="482" y="278"/>
                  </a:lnTo>
                  <a:lnTo>
                    <a:pt x="490" y="284"/>
                  </a:lnTo>
                  <a:lnTo>
                    <a:pt x="494" y="300"/>
                  </a:lnTo>
                  <a:lnTo>
                    <a:pt x="500" y="310"/>
                  </a:lnTo>
                  <a:lnTo>
                    <a:pt x="516" y="322"/>
                  </a:lnTo>
                  <a:lnTo>
                    <a:pt x="496" y="328"/>
                  </a:lnTo>
                  <a:lnTo>
                    <a:pt x="484" y="338"/>
                  </a:lnTo>
                  <a:lnTo>
                    <a:pt x="468" y="340"/>
                  </a:lnTo>
                  <a:lnTo>
                    <a:pt x="462" y="355"/>
                  </a:lnTo>
                  <a:lnTo>
                    <a:pt x="458" y="377"/>
                  </a:lnTo>
                  <a:lnTo>
                    <a:pt x="458" y="399"/>
                  </a:lnTo>
                  <a:lnTo>
                    <a:pt x="468" y="417"/>
                  </a:lnTo>
                  <a:lnTo>
                    <a:pt x="460" y="423"/>
                  </a:lnTo>
                  <a:lnTo>
                    <a:pt x="450" y="417"/>
                  </a:lnTo>
                  <a:lnTo>
                    <a:pt x="442" y="409"/>
                  </a:lnTo>
                  <a:lnTo>
                    <a:pt x="434" y="409"/>
                  </a:lnTo>
                  <a:lnTo>
                    <a:pt x="418" y="421"/>
                  </a:lnTo>
                  <a:lnTo>
                    <a:pt x="408" y="417"/>
                  </a:lnTo>
                  <a:lnTo>
                    <a:pt x="402" y="425"/>
                  </a:lnTo>
                  <a:lnTo>
                    <a:pt x="392" y="433"/>
                  </a:lnTo>
                  <a:lnTo>
                    <a:pt x="382" y="425"/>
                  </a:lnTo>
                  <a:lnTo>
                    <a:pt x="374" y="413"/>
                  </a:lnTo>
                  <a:lnTo>
                    <a:pt x="356" y="427"/>
                  </a:lnTo>
                  <a:lnTo>
                    <a:pt x="356" y="435"/>
                  </a:lnTo>
                  <a:lnTo>
                    <a:pt x="348" y="435"/>
                  </a:lnTo>
                  <a:lnTo>
                    <a:pt x="340" y="425"/>
                  </a:lnTo>
                  <a:lnTo>
                    <a:pt x="332" y="433"/>
                  </a:lnTo>
                  <a:lnTo>
                    <a:pt x="320" y="425"/>
                  </a:lnTo>
                  <a:lnTo>
                    <a:pt x="314" y="435"/>
                  </a:lnTo>
                  <a:lnTo>
                    <a:pt x="300" y="435"/>
                  </a:lnTo>
                  <a:lnTo>
                    <a:pt x="298" y="449"/>
                  </a:lnTo>
                  <a:lnTo>
                    <a:pt x="290" y="449"/>
                  </a:lnTo>
                  <a:lnTo>
                    <a:pt x="288" y="437"/>
                  </a:lnTo>
                  <a:lnTo>
                    <a:pt x="276" y="437"/>
                  </a:lnTo>
                  <a:lnTo>
                    <a:pt x="266" y="441"/>
                  </a:lnTo>
                  <a:lnTo>
                    <a:pt x="254" y="429"/>
                  </a:lnTo>
                  <a:lnTo>
                    <a:pt x="214" y="433"/>
                  </a:lnTo>
                  <a:lnTo>
                    <a:pt x="182" y="431"/>
                  </a:lnTo>
                  <a:lnTo>
                    <a:pt x="170" y="431"/>
                  </a:lnTo>
                  <a:lnTo>
                    <a:pt x="132" y="437"/>
                  </a:lnTo>
                  <a:lnTo>
                    <a:pt x="116" y="451"/>
                  </a:lnTo>
                  <a:lnTo>
                    <a:pt x="86" y="457"/>
                  </a:lnTo>
                  <a:lnTo>
                    <a:pt x="84" y="471"/>
                  </a:lnTo>
                  <a:lnTo>
                    <a:pt x="70" y="487"/>
                  </a:lnTo>
                  <a:lnTo>
                    <a:pt x="62" y="483"/>
                  </a:lnTo>
                  <a:lnTo>
                    <a:pt x="54" y="483"/>
                  </a:lnTo>
                  <a:lnTo>
                    <a:pt x="46" y="495"/>
                  </a:lnTo>
                  <a:lnTo>
                    <a:pt x="42" y="487"/>
                  </a:lnTo>
                  <a:lnTo>
                    <a:pt x="42" y="479"/>
                  </a:lnTo>
                  <a:lnTo>
                    <a:pt x="46" y="475"/>
                  </a:lnTo>
                  <a:lnTo>
                    <a:pt x="44" y="451"/>
                  </a:lnTo>
                  <a:lnTo>
                    <a:pt x="38" y="441"/>
                  </a:lnTo>
                  <a:lnTo>
                    <a:pt x="26" y="435"/>
                  </a:lnTo>
                  <a:lnTo>
                    <a:pt x="12" y="435"/>
                  </a:lnTo>
                  <a:lnTo>
                    <a:pt x="12" y="423"/>
                  </a:lnTo>
                  <a:lnTo>
                    <a:pt x="18" y="403"/>
                  </a:lnTo>
                  <a:lnTo>
                    <a:pt x="28" y="397"/>
                  </a:lnTo>
                  <a:lnTo>
                    <a:pt x="48" y="381"/>
                  </a:lnTo>
                  <a:lnTo>
                    <a:pt x="36" y="338"/>
                  </a:lnTo>
                  <a:lnTo>
                    <a:pt x="28" y="326"/>
                  </a:lnTo>
                  <a:lnTo>
                    <a:pt x="20" y="312"/>
                  </a:lnTo>
                  <a:lnTo>
                    <a:pt x="0" y="270"/>
                  </a:lnTo>
                  <a:close/>
                </a:path>
              </a:pathLst>
            </a:custGeom>
            <a:solidFill>
              <a:srgbClr val="606060">
                <a:lumMod val="20000"/>
                <a:lumOff val="80000"/>
              </a:srgbClr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7" name="Freeform 12"/>
            <p:cNvSpPr>
              <a:spLocks/>
            </p:cNvSpPr>
            <p:nvPr/>
          </p:nvSpPr>
          <p:spPr bwMode="gray">
            <a:xfrm>
              <a:off x="2774303" y="3650422"/>
              <a:ext cx="200707" cy="98999"/>
            </a:xfrm>
            <a:custGeom>
              <a:avLst/>
              <a:gdLst>
                <a:gd name="T0" fmla="*/ 0 w 182"/>
                <a:gd name="T1" fmla="*/ 96 h 96"/>
                <a:gd name="T2" fmla="*/ 10 w 182"/>
                <a:gd name="T3" fmla="*/ 82 h 96"/>
                <a:gd name="T4" fmla="*/ 16 w 182"/>
                <a:gd name="T5" fmla="*/ 70 h 96"/>
                <a:gd name="T6" fmla="*/ 18 w 182"/>
                <a:gd name="T7" fmla="*/ 64 h 96"/>
                <a:gd name="T8" fmla="*/ 14 w 182"/>
                <a:gd name="T9" fmla="*/ 54 h 96"/>
                <a:gd name="T10" fmla="*/ 10 w 182"/>
                <a:gd name="T11" fmla="*/ 48 h 96"/>
                <a:gd name="T12" fmla="*/ 16 w 182"/>
                <a:gd name="T13" fmla="*/ 40 h 96"/>
                <a:gd name="T14" fmla="*/ 26 w 182"/>
                <a:gd name="T15" fmla="*/ 40 h 96"/>
                <a:gd name="T16" fmla="*/ 38 w 182"/>
                <a:gd name="T17" fmla="*/ 40 h 96"/>
                <a:gd name="T18" fmla="*/ 48 w 182"/>
                <a:gd name="T19" fmla="*/ 36 h 96"/>
                <a:gd name="T20" fmla="*/ 54 w 182"/>
                <a:gd name="T21" fmla="*/ 38 h 96"/>
                <a:gd name="T22" fmla="*/ 62 w 182"/>
                <a:gd name="T23" fmla="*/ 40 h 96"/>
                <a:gd name="T24" fmla="*/ 78 w 182"/>
                <a:gd name="T25" fmla="*/ 40 h 96"/>
                <a:gd name="T26" fmla="*/ 84 w 182"/>
                <a:gd name="T27" fmla="*/ 36 h 96"/>
                <a:gd name="T28" fmla="*/ 82 w 182"/>
                <a:gd name="T29" fmla="*/ 26 h 96"/>
                <a:gd name="T30" fmla="*/ 78 w 182"/>
                <a:gd name="T31" fmla="*/ 16 h 96"/>
                <a:gd name="T32" fmla="*/ 80 w 182"/>
                <a:gd name="T33" fmla="*/ 8 h 96"/>
                <a:gd name="T34" fmla="*/ 80 w 182"/>
                <a:gd name="T35" fmla="*/ 2 h 96"/>
                <a:gd name="T36" fmla="*/ 86 w 182"/>
                <a:gd name="T37" fmla="*/ 0 h 96"/>
                <a:gd name="T38" fmla="*/ 96 w 182"/>
                <a:gd name="T39" fmla="*/ 6 h 96"/>
                <a:gd name="T40" fmla="*/ 116 w 182"/>
                <a:gd name="T41" fmla="*/ 14 h 96"/>
                <a:gd name="T42" fmla="*/ 130 w 182"/>
                <a:gd name="T43" fmla="*/ 18 h 96"/>
                <a:gd name="T44" fmla="*/ 142 w 182"/>
                <a:gd name="T45" fmla="*/ 14 h 96"/>
                <a:gd name="T46" fmla="*/ 158 w 182"/>
                <a:gd name="T47" fmla="*/ 14 h 96"/>
                <a:gd name="T48" fmla="*/ 164 w 182"/>
                <a:gd name="T49" fmla="*/ 18 h 96"/>
                <a:gd name="T50" fmla="*/ 172 w 182"/>
                <a:gd name="T51" fmla="*/ 24 h 96"/>
                <a:gd name="T52" fmla="*/ 180 w 182"/>
                <a:gd name="T53" fmla="*/ 32 h 96"/>
                <a:gd name="T54" fmla="*/ 176 w 182"/>
                <a:gd name="T55" fmla="*/ 42 h 96"/>
                <a:gd name="T56" fmla="*/ 174 w 182"/>
                <a:gd name="T57" fmla="*/ 54 h 96"/>
                <a:gd name="T58" fmla="*/ 174 w 182"/>
                <a:gd name="T59" fmla="*/ 66 h 96"/>
                <a:gd name="T60" fmla="*/ 182 w 182"/>
                <a:gd name="T61" fmla="*/ 72 h 96"/>
                <a:gd name="T62" fmla="*/ 170 w 182"/>
                <a:gd name="T63" fmla="*/ 82 h 96"/>
                <a:gd name="T64" fmla="*/ 134 w 182"/>
                <a:gd name="T65" fmla="*/ 90 h 96"/>
                <a:gd name="T66" fmla="*/ 106 w 182"/>
                <a:gd name="T67" fmla="*/ 94 h 96"/>
                <a:gd name="T68" fmla="*/ 66 w 182"/>
                <a:gd name="T69" fmla="*/ 94 h 96"/>
                <a:gd name="T70" fmla="*/ 30 w 182"/>
                <a:gd name="T71" fmla="*/ 96 h 96"/>
                <a:gd name="T72" fmla="*/ 12 w 182"/>
                <a:gd name="T73" fmla="*/ 96 h 96"/>
                <a:gd name="T74" fmla="*/ 20 w 182"/>
                <a:gd name="T75" fmla="*/ 88 h 96"/>
                <a:gd name="T76" fmla="*/ 32 w 182"/>
                <a:gd name="T77" fmla="*/ 80 h 96"/>
                <a:gd name="T78" fmla="*/ 44 w 182"/>
                <a:gd name="T79" fmla="*/ 70 h 96"/>
                <a:gd name="T80" fmla="*/ 42 w 182"/>
                <a:gd name="T81" fmla="*/ 66 h 96"/>
                <a:gd name="T82" fmla="*/ 34 w 182"/>
                <a:gd name="T83" fmla="*/ 66 h 96"/>
                <a:gd name="T84" fmla="*/ 22 w 182"/>
                <a:gd name="T85" fmla="*/ 66 h 96"/>
                <a:gd name="T86" fmla="*/ 18 w 182"/>
                <a:gd name="T87" fmla="*/ 74 h 96"/>
                <a:gd name="T88" fmla="*/ 12 w 182"/>
                <a:gd name="T89" fmla="*/ 82 h 96"/>
                <a:gd name="T90" fmla="*/ 8 w 182"/>
                <a:gd name="T91" fmla="*/ 88 h 96"/>
                <a:gd name="T92" fmla="*/ 2 w 182"/>
                <a:gd name="T93" fmla="*/ 96 h 96"/>
                <a:gd name="T94" fmla="*/ 0 w 182"/>
                <a:gd name="T9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2" h="96">
                  <a:moveTo>
                    <a:pt x="0" y="96"/>
                  </a:moveTo>
                  <a:lnTo>
                    <a:pt x="10" y="82"/>
                  </a:lnTo>
                  <a:lnTo>
                    <a:pt x="16" y="70"/>
                  </a:lnTo>
                  <a:lnTo>
                    <a:pt x="18" y="64"/>
                  </a:lnTo>
                  <a:lnTo>
                    <a:pt x="14" y="54"/>
                  </a:lnTo>
                  <a:lnTo>
                    <a:pt x="10" y="48"/>
                  </a:lnTo>
                  <a:lnTo>
                    <a:pt x="16" y="40"/>
                  </a:lnTo>
                  <a:lnTo>
                    <a:pt x="26" y="40"/>
                  </a:lnTo>
                  <a:lnTo>
                    <a:pt x="38" y="40"/>
                  </a:lnTo>
                  <a:lnTo>
                    <a:pt x="48" y="36"/>
                  </a:lnTo>
                  <a:lnTo>
                    <a:pt x="54" y="38"/>
                  </a:lnTo>
                  <a:lnTo>
                    <a:pt x="62" y="40"/>
                  </a:lnTo>
                  <a:lnTo>
                    <a:pt x="78" y="40"/>
                  </a:lnTo>
                  <a:lnTo>
                    <a:pt x="84" y="36"/>
                  </a:lnTo>
                  <a:lnTo>
                    <a:pt x="82" y="26"/>
                  </a:lnTo>
                  <a:lnTo>
                    <a:pt x="78" y="16"/>
                  </a:lnTo>
                  <a:lnTo>
                    <a:pt x="80" y="8"/>
                  </a:lnTo>
                  <a:lnTo>
                    <a:pt x="80" y="2"/>
                  </a:lnTo>
                  <a:lnTo>
                    <a:pt x="86" y="0"/>
                  </a:lnTo>
                  <a:lnTo>
                    <a:pt x="96" y="6"/>
                  </a:lnTo>
                  <a:lnTo>
                    <a:pt x="116" y="14"/>
                  </a:lnTo>
                  <a:lnTo>
                    <a:pt x="130" y="18"/>
                  </a:lnTo>
                  <a:lnTo>
                    <a:pt x="142" y="14"/>
                  </a:lnTo>
                  <a:lnTo>
                    <a:pt x="158" y="14"/>
                  </a:lnTo>
                  <a:lnTo>
                    <a:pt x="164" y="18"/>
                  </a:lnTo>
                  <a:lnTo>
                    <a:pt x="172" y="24"/>
                  </a:lnTo>
                  <a:lnTo>
                    <a:pt x="180" y="32"/>
                  </a:lnTo>
                  <a:lnTo>
                    <a:pt x="176" y="42"/>
                  </a:lnTo>
                  <a:lnTo>
                    <a:pt x="174" y="54"/>
                  </a:lnTo>
                  <a:lnTo>
                    <a:pt x="174" y="66"/>
                  </a:lnTo>
                  <a:lnTo>
                    <a:pt x="182" y="72"/>
                  </a:lnTo>
                  <a:lnTo>
                    <a:pt x="170" y="82"/>
                  </a:lnTo>
                  <a:lnTo>
                    <a:pt x="134" y="90"/>
                  </a:lnTo>
                  <a:lnTo>
                    <a:pt x="106" y="94"/>
                  </a:lnTo>
                  <a:lnTo>
                    <a:pt x="66" y="94"/>
                  </a:lnTo>
                  <a:lnTo>
                    <a:pt x="30" y="96"/>
                  </a:lnTo>
                  <a:lnTo>
                    <a:pt x="12" y="96"/>
                  </a:lnTo>
                  <a:lnTo>
                    <a:pt x="20" y="88"/>
                  </a:lnTo>
                  <a:lnTo>
                    <a:pt x="32" y="80"/>
                  </a:lnTo>
                  <a:lnTo>
                    <a:pt x="44" y="70"/>
                  </a:lnTo>
                  <a:lnTo>
                    <a:pt x="42" y="66"/>
                  </a:lnTo>
                  <a:lnTo>
                    <a:pt x="34" y="66"/>
                  </a:lnTo>
                  <a:lnTo>
                    <a:pt x="22" y="66"/>
                  </a:lnTo>
                  <a:lnTo>
                    <a:pt x="18" y="74"/>
                  </a:lnTo>
                  <a:lnTo>
                    <a:pt x="12" y="82"/>
                  </a:lnTo>
                  <a:lnTo>
                    <a:pt x="8" y="88"/>
                  </a:lnTo>
                  <a:lnTo>
                    <a:pt x="2" y="9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BFBFBF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8" name="Freeform 13"/>
            <p:cNvSpPr>
              <a:spLocks/>
            </p:cNvSpPr>
            <p:nvPr/>
          </p:nvSpPr>
          <p:spPr bwMode="gray">
            <a:xfrm>
              <a:off x="2841126" y="3497903"/>
              <a:ext cx="354582" cy="268903"/>
            </a:xfrm>
            <a:custGeom>
              <a:avLst/>
              <a:gdLst>
                <a:gd name="T0" fmla="*/ 18 w 324"/>
                <a:gd name="T1" fmla="*/ 128 h 258"/>
                <a:gd name="T2" fmla="*/ 2 w 324"/>
                <a:gd name="T3" fmla="*/ 98 h 258"/>
                <a:gd name="T4" fmla="*/ 0 w 324"/>
                <a:gd name="T5" fmla="*/ 70 h 258"/>
                <a:gd name="T6" fmla="*/ 8 w 324"/>
                <a:gd name="T7" fmla="*/ 70 h 258"/>
                <a:gd name="T8" fmla="*/ 10 w 324"/>
                <a:gd name="T9" fmla="*/ 58 h 258"/>
                <a:gd name="T10" fmla="*/ 48 w 324"/>
                <a:gd name="T11" fmla="*/ 32 h 258"/>
                <a:gd name="T12" fmla="*/ 84 w 324"/>
                <a:gd name="T13" fmla="*/ 32 h 258"/>
                <a:gd name="T14" fmla="*/ 100 w 324"/>
                <a:gd name="T15" fmla="*/ 32 h 258"/>
                <a:gd name="T16" fmla="*/ 116 w 324"/>
                <a:gd name="T17" fmla="*/ 24 h 258"/>
                <a:gd name="T18" fmla="*/ 136 w 324"/>
                <a:gd name="T19" fmla="*/ 18 h 258"/>
                <a:gd name="T20" fmla="*/ 156 w 324"/>
                <a:gd name="T21" fmla="*/ 26 h 258"/>
                <a:gd name="T22" fmla="*/ 170 w 324"/>
                <a:gd name="T23" fmla="*/ 18 h 258"/>
                <a:gd name="T24" fmla="*/ 186 w 324"/>
                <a:gd name="T25" fmla="*/ 10 h 258"/>
                <a:gd name="T26" fmla="*/ 204 w 324"/>
                <a:gd name="T27" fmla="*/ 10 h 258"/>
                <a:gd name="T28" fmla="*/ 222 w 324"/>
                <a:gd name="T29" fmla="*/ 22 h 258"/>
                <a:gd name="T30" fmla="*/ 246 w 324"/>
                <a:gd name="T31" fmla="*/ 22 h 258"/>
                <a:gd name="T32" fmla="*/ 270 w 324"/>
                <a:gd name="T33" fmla="*/ 36 h 258"/>
                <a:gd name="T34" fmla="*/ 290 w 324"/>
                <a:gd name="T35" fmla="*/ 54 h 258"/>
                <a:gd name="T36" fmla="*/ 304 w 324"/>
                <a:gd name="T37" fmla="*/ 84 h 258"/>
                <a:gd name="T38" fmla="*/ 318 w 324"/>
                <a:gd name="T39" fmla="*/ 104 h 258"/>
                <a:gd name="T40" fmla="*/ 298 w 324"/>
                <a:gd name="T41" fmla="*/ 110 h 258"/>
                <a:gd name="T42" fmla="*/ 286 w 324"/>
                <a:gd name="T43" fmla="*/ 130 h 258"/>
                <a:gd name="T44" fmla="*/ 278 w 324"/>
                <a:gd name="T45" fmla="*/ 156 h 258"/>
                <a:gd name="T46" fmla="*/ 280 w 324"/>
                <a:gd name="T47" fmla="*/ 176 h 258"/>
                <a:gd name="T48" fmla="*/ 290 w 324"/>
                <a:gd name="T49" fmla="*/ 194 h 258"/>
                <a:gd name="T50" fmla="*/ 290 w 324"/>
                <a:gd name="T51" fmla="*/ 208 h 258"/>
                <a:gd name="T52" fmla="*/ 278 w 324"/>
                <a:gd name="T53" fmla="*/ 200 h 258"/>
                <a:gd name="T54" fmla="*/ 268 w 324"/>
                <a:gd name="T55" fmla="*/ 204 h 258"/>
                <a:gd name="T56" fmla="*/ 252 w 324"/>
                <a:gd name="T57" fmla="*/ 218 h 258"/>
                <a:gd name="T58" fmla="*/ 238 w 324"/>
                <a:gd name="T59" fmla="*/ 222 h 258"/>
                <a:gd name="T60" fmla="*/ 244 w 324"/>
                <a:gd name="T61" fmla="*/ 236 h 258"/>
                <a:gd name="T62" fmla="*/ 220 w 324"/>
                <a:gd name="T63" fmla="*/ 250 h 258"/>
                <a:gd name="T64" fmla="*/ 198 w 324"/>
                <a:gd name="T65" fmla="*/ 248 h 258"/>
                <a:gd name="T66" fmla="*/ 170 w 324"/>
                <a:gd name="T67" fmla="*/ 258 h 258"/>
                <a:gd name="T68" fmla="*/ 156 w 324"/>
                <a:gd name="T69" fmla="*/ 228 h 258"/>
                <a:gd name="T70" fmla="*/ 132 w 324"/>
                <a:gd name="T71" fmla="*/ 216 h 258"/>
                <a:gd name="T72" fmla="*/ 114 w 324"/>
                <a:gd name="T73" fmla="*/ 212 h 258"/>
                <a:gd name="T74" fmla="*/ 120 w 324"/>
                <a:gd name="T75" fmla="*/ 178 h 258"/>
                <a:gd name="T76" fmla="*/ 104 w 324"/>
                <a:gd name="T77" fmla="*/ 164 h 258"/>
                <a:gd name="T78" fmla="*/ 82 w 324"/>
                <a:gd name="T79" fmla="*/ 160 h 258"/>
                <a:gd name="T80" fmla="*/ 52 w 324"/>
                <a:gd name="T81" fmla="*/ 158 h 258"/>
                <a:gd name="T82" fmla="*/ 26 w 324"/>
                <a:gd name="T83" fmla="*/ 14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4" h="258">
                  <a:moveTo>
                    <a:pt x="26" y="146"/>
                  </a:moveTo>
                  <a:lnTo>
                    <a:pt x="18" y="128"/>
                  </a:lnTo>
                  <a:lnTo>
                    <a:pt x="10" y="114"/>
                  </a:lnTo>
                  <a:lnTo>
                    <a:pt x="2" y="98"/>
                  </a:lnTo>
                  <a:lnTo>
                    <a:pt x="2" y="78"/>
                  </a:lnTo>
                  <a:lnTo>
                    <a:pt x="0" y="70"/>
                  </a:lnTo>
                  <a:lnTo>
                    <a:pt x="2" y="72"/>
                  </a:lnTo>
                  <a:lnTo>
                    <a:pt x="8" y="70"/>
                  </a:lnTo>
                  <a:lnTo>
                    <a:pt x="10" y="66"/>
                  </a:lnTo>
                  <a:lnTo>
                    <a:pt x="10" y="58"/>
                  </a:lnTo>
                  <a:lnTo>
                    <a:pt x="26" y="46"/>
                  </a:lnTo>
                  <a:lnTo>
                    <a:pt x="48" y="32"/>
                  </a:lnTo>
                  <a:lnTo>
                    <a:pt x="68" y="28"/>
                  </a:lnTo>
                  <a:lnTo>
                    <a:pt x="84" y="32"/>
                  </a:lnTo>
                  <a:lnTo>
                    <a:pt x="92" y="24"/>
                  </a:lnTo>
                  <a:lnTo>
                    <a:pt x="100" y="32"/>
                  </a:lnTo>
                  <a:lnTo>
                    <a:pt x="108" y="32"/>
                  </a:lnTo>
                  <a:lnTo>
                    <a:pt x="116" y="24"/>
                  </a:lnTo>
                  <a:lnTo>
                    <a:pt x="126" y="26"/>
                  </a:lnTo>
                  <a:lnTo>
                    <a:pt x="136" y="18"/>
                  </a:lnTo>
                  <a:lnTo>
                    <a:pt x="150" y="18"/>
                  </a:lnTo>
                  <a:lnTo>
                    <a:pt x="156" y="26"/>
                  </a:lnTo>
                  <a:lnTo>
                    <a:pt x="166" y="24"/>
                  </a:lnTo>
                  <a:lnTo>
                    <a:pt x="170" y="18"/>
                  </a:lnTo>
                  <a:lnTo>
                    <a:pt x="178" y="22"/>
                  </a:lnTo>
                  <a:lnTo>
                    <a:pt x="186" y="10"/>
                  </a:lnTo>
                  <a:lnTo>
                    <a:pt x="198" y="0"/>
                  </a:lnTo>
                  <a:lnTo>
                    <a:pt x="204" y="10"/>
                  </a:lnTo>
                  <a:lnTo>
                    <a:pt x="212" y="18"/>
                  </a:lnTo>
                  <a:lnTo>
                    <a:pt x="222" y="22"/>
                  </a:lnTo>
                  <a:lnTo>
                    <a:pt x="238" y="18"/>
                  </a:lnTo>
                  <a:lnTo>
                    <a:pt x="246" y="22"/>
                  </a:lnTo>
                  <a:lnTo>
                    <a:pt x="258" y="30"/>
                  </a:lnTo>
                  <a:lnTo>
                    <a:pt x="270" y="36"/>
                  </a:lnTo>
                  <a:lnTo>
                    <a:pt x="280" y="46"/>
                  </a:lnTo>
                  <a:lnTo>
                    <a:pt x="290" y="54"/>
                  </a:lnTo>
                  <a:lnTo>
                    <a:pt x="306" y="52"/>
                  </a:lnTo>
                  <a:lnTo>
                    <a:pt x="304" y="84"/>
                  </a:lnTo>
                  <a:lnTo>
                    <a:pt x="324" y="86"/>
                  </a:lnTo>
                  <a:lnTo>
                    <a:pt x="318" y="104"/>
                  </a:lnTo>
                  <a:lnTo>
                    <a:pt x="308" y="102"/>
                  </a:lnTo>
                  <a:lnTo>
                    <a:pt x="298" y="110"/>
                  </a:lnTo>
                  <a:lnTo>
                    <a:pt x="298" y="122"/>
                  </a:lnTo>
                  <a:lnTo>
                    <a:pt x="286" y="130"/>
                  </a:lnTo>
                  <a:lnTo>
                    <a:pt x="280" y="140"/>
                  </a:lnTo>
                  <a:lnTo>
                    <a:pt x="278" y="156"/>
                  </a:lnTo>
                  <a:lnTo>
                    <a:pt x="284" y="166"/>
                  </a:lnTo>
                  <a:lnTo>
                    <a:pt x="280" y="176"/>
                  </a:lnTo>
                  <a:lnTo>
                    <a:pt x="278" y="192"/>
                  </a:lnTo>
                  <a:lnTo>
                    <a:pt x="290" y="194"/>
                  </a:lnTo>
                  <a:lnTo>
                    <a:pt x="294" y="200"/>
                  </a:lnTo>
                  <a:lnTo>
                    <a:pt x="290" y="208"/>
                  </a:lnTo>
                  <a:lnTo>
                    <a:pt x="280" y="210"/>
                  </a:lnTo>
                  <a:lnTo>
                    <a:pt x="278" y="200"/>
                  </a:lnTo>
                  <a:lnTo>
                    <a:pt x="272" y="198"/>
                  </a:lnTo>
                  <a:lnTo>
                    <a:pt x="268" y="204"/>
                  </a:lnTo>
                  <a:lnTo>
                    <a:pt x="262" y="206"/>
                  </a:lnTo>
                  <a:lnTo>
                    <a:pt x="252" y="218"/>
                  </a:lnTo>
                  <a:lnTo>
                    <a:pt x="244" y="218"/>
                  </a:lnTo>
                  <a:lnTo>
                    <a:pt x="238" y="222"/>
                  </a:lnTo>
                  <a:lnTo>
                    <a:pt x="244" y="230"/>
                  </a:lnTo>
                  <a:lnTo>
                    <a:pt x="244" y="236"/>
                  </a:lnTo>
                  <a:lnTo>
                    <a:pt x="232" y="236"/>
                  </a:lnTo>
                  <a:lnTo>
                    <a:pt x="220" y="250"/>
                  </a:lnTo>
                  <a:lnTo>
                    <a:pt x="208" y="244"/>
                  </a:lnTo>
                  <a:lnTo>
                    <a:pt x="198" y="248"/>
                  </a:lnTo>
                  <a:lnTo>
                    <a:pt x="178" y="256"/>
                  </a:lnTo>
                  <a:lnTo>
                    <a:pt x="170" y="258"/>
                  </a:lnTo>
                  <a:lnTo>
                    <a:pt x="166" y="238"/>
                  </a:lnTo>
                  <a:lnTo>
                    <a:pt x="156" y="228"/>
                  </a:lnTo>
                  <a:lnTo>
                    <a:pt x="146" y="226"/>
                  </a:lnTo>
                  <a:lnTo>
                    <a:pt x="132" y="216"/>
                  </a:lnTo>
                  <a:lnTo>
                    <a:pt x="122" y="218"/>
                  </a:lnTo>
                  <a:lnTo>
                    <a:pt x="114" y="212"/>
                  </a:lnTo>
                  <a:lnTo>
                    <a:pt x="116" y="188"/>
                  </a:lnTo>
                  <a:lnTo>
                    <a:pt x="120" y="178"/>
                  </a:lnTo>
                  <a:lnTo>
                    <a:pt x="112" y="170"/>
                  </a:lnTo>
                  <a:lnTo>
                    <a:pt x="104" y="164"/>
                  </a:lnTo>
                  <a:lnTo>
                    <a:pt x="98" y="160"/>
                  </a:lnTo>
                  <a:lnTo>
                    <a:pt x="82" y="160"/>
                  </a:lnTo>
                  <a:lnTo>
                    <a:pt x="70" y="164"/>
                  </a:lnTo>
                  <a:lnTo>
                    <a:pt x="52" y="158"/>
                  </a:lnTo>
                  <a:lnTo>
                    <a:pt x="34" y="150"/>
                  </a:lnTo>
                  <a:lnTo>
                    <a:pt x="26" y="146"/>
                  </a:lnTo>
                  <a:close/>
                </a:path>
              </a:pathLst>
            </a:custGeom>
            <a:solidFill>
              <a:srgbClr val="E29815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9" name="Freeform 14"/>
            <p:cNvSpPr>
              <a:spLocks/>
            </p:cNvSpPr>
            <p:nvPr/>
          </p:nvSpPr>
          <p:spPr bwMode="gray">
            <a:xfrm>
              <a:off x="2829083" y="3334693"/>
              <a:ext cx="425498" cy="238133"/>
            </a:xfrm>
            <a:custGeom>
              <a:avLst/>
              <a:gdLst>
                <a:gd name="T0" fmla="*/ 14 w 388"/>
                <a:gd name="T1" fmla="*/ 138 h 228"/>
                <a:gd name="T2" fmla="*/ 10 w 388"/>
                <a:gd name="T3" fmla="*/ 110 h 228"/>
                <a:gd name="T4" fmla="*/ 24 w 388"/>
                <a:gd name="T5" fmla="*/ 80 h 228"/>
                <a:gd name="T6" fmla="*/ 50 w 388"/>
                <a:gd name="T7" fmla="*/ 64 h 228"/>
                <a:gd name="T8" fmla="*/ 64 w 388"/>
                <a:gd name="T9" fmla="*/ 66 h 228"/>
                <a:gd name="T10" fmla="*/ 92 w 388"/>
                <a:gd name="T11" fmla="*/ 86 h 228"/>
                <a:gd name="T12" fmla="*/ 108 w 388"/>
                <a:gd name="T13" fmla="*/ 106 h 228"/>
                <a:gd name="T14" fmla="*/ 140 w 388"/>
                <a:gd name="T15" fmla="*/ 120 h 228"/>
                <a:gd name="T16" fmla="*/ 164 w 388"/>
                <a:gd name="T17" fmla="*/ 92 h 228"/>
                <a:gd name="T18" fmla="*/ 158 w 388"/>
                <a:gd name="T19" fmla="*/ 50 h 228"/>
                <a:gd name="T20" fmla="*/ 150 w 388"/>
                <a:gd name="T21" fmla="*/ 26 h 228"/>
                <a:gd name="T22" fmla="*/ 184 w 388"/>
                <a:gd name="T23" fmla="*/ 0 h 228"/>
                <a:gd name="T24" fmla="*/ 200 w 388"/>
                <a:gd name="T25" fmla="*/ 0 h 228"/>
                <a:gd name="T26" fmla="*/ 228 w 388"/>
                <a:gd name="T27" fmla="*/ 12 h 228"/>
                <a:gd name="T28" fmla="*/ 256 w 388"/>
                <a:gd name="T29" fmla="*/ 30 h 228"/>
                <a:gd name="T30" fmla="*/ 270 w 388"/>
                <a:gd name="T31" fmla="*/ 36 h 228"/>
                <a:gd name="T32" fmla="*/ 286 w 388"/>
                <a:gd name="T33" fmla="*/ 24 h 228"/>
                <a:gd name="T34" fmla="*/ 312 w 388"/>
                <a:gd name="T35" fmla="*/ 24 h 228"/>
                <a:gd name="T36" fmla="*/ 324 w 388"/>
                <a:gd name="T37" fmla="*/ 32 h 228"/>
                <a:gd name="T38" fmla="*/ 348 w 388"/>
                <a:gd name="T39" fmla="*/ 44 h 228"/>
                <a:gd name="T40" fmla="*/ 342 w 388"/>
                <a:gd name="T41" fmla="*/ 58 h 228"/>
                <a:gd name="T42" fmla="*/ 346 w 388"/>
                <a:gd name="T43" fmla="*/ 80 h 228"/>
                <a:gd name="T44" fmla="*/ 360 w 388"/>
                <a:gd name="T45" fmla="*/ 92 h 228"/>
                <a:gd name="T46" fmla="*/ 380 w 388"/>
                <a:gd name="T47" fmla="*/ 118 h 228"/>
                <a:gd name="T48" fmla="*/ 388 w 388"/>
                <a:gd name="T49" fmla="*/ 144 h 228"/>
                <a:gd name="T50" fmla="*/ 368 w 388"/>
                <a:gd name="T51" fmla="*/ 166 h 228"/>
                <a:gd name="T52" fmla="*/ 346 w 388"/>
                <a:gd name="T53" fmla="*/ 192 h 228"/>
                <a:gd name="T54" fmla="*/ 328 w 388"/>
                <a:gd name="T55" fmla="*/ 194 h 228"/>
                <a:gd name="T56" fmla="*/ 316 w 388"/>
                <a:gd name="T57" fmla="*/ 208 h 228"/>
                <a:gd name="T58" fmla="*/ 290 w 388"/>
                <a:gd name="T59" fmla="*/ 202 h 228"/>
                <a:gd name="T60" fmla="*/ 268 w 388"/>
                <a:gd name="T61" fmla="*/ 186 h 228"/>
                <a:gd name="T62" fmla="*/ 248 w 388"/>
                <a:gd name="T63" fmla="*/ 174 h 228"/>
                <a:gd name="T64" fmla="*/ 222 w 388"/>
                <a:gd name="T65" fmla="*/ 174 h 228"/>
                <a:gd name="T66" fmla="*/ 208 w 388"/>
                <a:gd name="T67" fmla="*/ 156 h 228"/>
                <a:gd name="T68" fmla="*/ 188 w 388"/>
                <a:gd name="T69" fmla="*/ 178 h 228"/>
                <a:gd name="T70" fmla="*/ 176 w 388"/>
                <a:gd name="T71" fmla="*/ 180 h 228"/>
                <a:gd name="T72" fmla="*/ 160 w 388"/>
                <a:gd name="T73" fmla="*/ 174 h 228"/>
                <a:gd name="T74" fmla="*/ 136 w 388"/>
                <a:gd name="T75" fmla="*/ 182 h 228"/>
                <a:gd name="T76" fmla="*/ 118 w 388"/>
                <a:gd name="T77" fmla="*/ 188 h 228"/>
                <a:gd name="T78" fmla="*/ 102 w 388"/>
                <a:gd name="T79" fmla="*/ 180 h 228"/>
                <a:gd name="T80" fmla="*/ 94 w 388"/>
                <a:gd name="T81" fmla="*/ 188 h 228"/>
                <a:gd name="T82" fmla="*/ 58 w 388"/>
                <a:gd name="T83" fmla="*/ 188 h 228"/>
                <a:gd name="T84" fmla="*/ 20 w 388"/>
                <a:gd name="T85" fmla="*/ 214 h 228"/>
                <a:gd name="T86" fmla="*/ 16 w 388"/>
                <a:gd name="T87" fmla="*/ 226 h 228"/>
                <a:gd name="T88" fmla="*/ 10 w 388"/>
                <a:gd name="T89" fmla="*/ 226 h 228"/>
                <a:gd name="T90" fmla="*/ 2 w 388"/>
                <a:gd name="T91" fmla="*/ 194 h 228"/>
                <a:gd name="T92" fmla="*/ 0 w 388"/>
                <a:gd name="T93" fmla="*/ 15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88" h="228">
                  <a:moveTo>
                    <a:pt x="0" y="154"/>
                  </a:moveTo>
                  <a:lnTo>
                    <a:pt x="14" y="138"/>
                  </a:lnTo>
                  <a:lnTo>
                    <a:pt x="14" y="126"/>
                  </a:lnTo>
                  <a:lnTo>
                    <a:pt x="10" y="110"/>
                  </a:lnTo>
                  <a:lnTo>
                    <a:pt x="18" y="92"/>
                  </a:lnTo>
                  <a:lnTo>
                    <a:pt x="24" y="80"/>
                  </a:lnTo>
                  <a:lnTo>
                    <a:pt x="34" y="76"/>
                  </a:lnTo>
                  <a:lnTo>
                    <a:pt x="50" y="64"/>
                  </a:lnTo>
                  <a:lnTo>
                    <a:pt x="62" y="56"/>
                  </a:lnTo>
                  <a:lnTo>
                    <a:pt x="64" y="66"/>
                  </a:lnTo>
                  <a:lnTo>
                    <a:pt x="82" y="76"/>
                  </a:lnTo>
                  <a:lnTo>
                    <a:pt x="92" y="86"/>
                  </a:lnTo>
                  <a:lnTo>
                    <a:pt x="102" y="92"/>
                  </a:lnTo>
                  <a:lnTo>
                    <a:pt x="108" y="106"/>
                  </a:lnTo>
                  <a:lnTo>
                    <a:pt x="118" y="116"/>
                  </a:lnTo>
                  <a:lnTo>
                    <a:pt x="140" y="120"/>
                  </a:lnTo>
                  <a:lnTo>
                    <a:pt x="152" y="106"/>
                  </a:lnTo>
                  <a:lnTo>
                    <a:pt x="164" y="92"/>
                  </a:lnTo>
                  <a:lnTo>
                    <a:pt x="162" y="66"/>
                  </a:lnTo>
                  <a:lnTo>
                    <a:pt x="158" y="50"/>
                  </a:lnTo>
                  <a:lnTo>
                    <a:pt x="150" y="34"/>
                  </a:lnTo>
                  <a:lnTo>
                    <a:pt x="150" y="26"/>
                  </a:lnTo>
                  <a:lnTo>
                    <a:pt x="162" y="16"/>
                  </a:lnTo>
                  <a:lnTo>
                    <a:pt x="184" y="0"/>
                  </a:lnTo>
                  <a:lnTo>
                    <a:pt x="192" y="2"/>
                  </a:lnTo>
                  <a:lnTo>
                    <a:pt x="200" y="0"/>
                  </a:lnTo>
                  <a:lnTo>
                    <a:pt x="216" y="8"/>
                  </a:lnTo>
                  <a:lnTo>
                    <a:pt x="228" y="12"/>
                  </a:lnTo>
                  <a:lnTo>
                    <a:pt x="238" y="12"/>
                  </a:lnTo>
                  <a:lnTo>
                    <a:pt x="256" y="30"/>
                  </a:lnTo>
                  <a:lnTo>
                    <a:pt x="266" y="30"/>
                  </a:lnTo>
                  <a:lnTo>
                    <a:pt x="270" y="36"/>
                  </a:lnTo>
                  <a:lnTo>
                    <a:pt x="274" y="34"/>
                  </a:lnTo>
                  <a:lnTo>
                    <a:pt x="286" y="24"/>
                  </a:lnTo>
                  <a:lnTo>
                    <a:pt x="300" y="24"/>
                  </a:lnTo>
                  <a:lnTo>
                    <a:pt x="312" y="24"/>
                  </a:lnTo>
                  <a:lnTo>
                    <a:pt x="324" y="26"/>
                  </a:lnTo>
                  <a:lnTo>
                    <a:pt x="324" y="32"/>
                  </a:lnTo>
                  <a:lnTo>
                    <a:pt x="338" y="38"/>
                  </a:lnTo>
                  <a:lnTo>
                    <a:pt x="348" y="44"/>
                  </a:lnTo>
                  <a:lnTo>
                    <a:pt x="348" y="52"/>
                  </a:lnTo>
                  <a:lnTo>
                    <a:pt x="342" y="58"/>
                  </a:lnTo>
                  <a:lnTo>
                    <a:pt x="346" y="64"/>
                  </a:lnTo>
                  <a:lnTo>
                    <a:pt x="346" y="80"/>
                  </a:lnTo>
                  <a:lnTo>
                    <a:pt x="356" y="80"/>
                  </a:lnTo>
                  <a:lnTo>
                    <a:pt x="360" y="92"/>
                  </a:lnTo>
                  <a:lnTo>
                    <a:pt x="370" y="102"/>
                  </a:lnTo>
                  <a:lnTo>
                    <a:pt x="380" y="118"/>
                  </a:lnTo>
                  <a:lnTo>
                    <a:pt x="386" y="128"/>
                  </a:lnTo>
                  <a:lnTo>
                    <a:pt x="388" y="144"/>
                  </a:lnTo>
                  <a:lnTo>
                    <a:pt x="380" y="146"/>
                  </a:lnTo>
                  <a:lnTo>
                    <a:pt x="368" y="166"/>
                  </a:lnTo>
                  <a:lnTo>
                    <a:pt x="366" y="188"/>
                  </a:lnTo>
                  <a:lnTo>
                    <a:pt x="346" y="192"/>
                  </a:lnTo>
                  <a:lnTo>
                    <a:pt x="336" y="188"/>
                  </a:lnTo>
                  <a:lnTo>
                    <a:pt x="328" y="194"/>
                  </a:lnTo>
                  <a:lnTo>
                    <a:pt x="330" y="202"/>
                  </a:lnTo>
                  <a:lnTo>
                    <a:pt x="316" y="208"/>
                  </a:lnTo>
                  <a:lnTo>
                    <a:pt x="300" y="210"/>
                  </a:lnTo>
                  <a:lnTo>
                    <a:pt x="290" y="202"/>
                  </a:lnTo>
                  <a:lnTo>
                    <a:pt x="280" y="192"/>
                  </a:lnTo>
                  <a:lnTo>
                    <a:pt x="268" y="186"/>
                  </a:lnTo>
                  <a:lnTo>
                    <a:pt x="256" y="178"/>
                  </a:lnTo>
                  <a:lnTo>
                    <a:pt x="248" y="174"/>
                  </a:lnTo>
                  <a:lnTo>
                    <a:pt x="232" y="178"/>
                  </a:lnTo>
                  <a:lnTo>
                    <a:pt x="222" y="174"/>
                  </a:lnTo>
                  <a:lnTo>
                    <a:pt x="216" y="168"/>
                  </a:lnTo>
                  <a:lnTo>
                    <a:pt x="208" y="156"/>
                  </a:lnTo>
                  <a:lnTo>
                    <a:pt x="196" y="166"/>
                  </a:lnTo>
                  <a:lnTo>
                    <a:pt x="188" y="178"/>
                  </a:lnTo>
                  <a:lnTo>
                    <a:pt x="180" y="174"/>
                  </a:lnTo>
                  <a:lnTo>
                    <a:pt x="176" y="180"/>
                  </a:lnTo>
                  <a:lnTo>
                    <a:pt x="166" y="182"/>
                  </a:lnTo>
                  <a:lnTo>
                    <a:pt x="160" y="174"/>
                  </a:lnTo>
                  <a:lnTo>
                    <a:pt x="146" y="174"/>
                  </a:lnTo>
                  <a:lnTo>
                    <a:pt x="136" y="182"/>
                  </a:lnTo>
                  <a:lnTo>
                    <a:pt x="126" y="180"/>
                  </a:lnTo>
                  <a:lnTo>
                    <a:pt x="118" y="188"/>
                  </a:lnTo>
                  <a:lnTo>
                    <a:pt x="110" y="188"/>
                  </a:lnTo>
                  <a:lnTo>
                    <a:pt x="102" y="180"/>
                  </a:lnTo>
                  <a:lnTo>
                    <a:pt x="96" y="186"/>
                  </a:lnTo>
                  <a:lnTo>
                    <a:pt x="94" y="188"/>
                  </a:lnTo>
                  <a:lnTo>
                    <a:pt x="78" y="184"/>
                  </a:lnTo>
                  <a:lnTo>
                    <a:pt x="58" y="188"/>
                  </a:lnTo>
                  <a:lnTo>
                    <a:pt x="36" y="204"/>
                  </a:lnTo>
                  <a:lnTo>
                    <a:pt x="20" y="214"/>
                  </a:lnTo>
                  <a:lnTo>
                    <a:pt x="20" y="222"/>
                  </a:lnTo>
                  <a:lnTo>
                    <a:pt x="16" y="226"/>
                  </a:lnTo>
                  <a:lnTo>
                    <a:pt x="12" y="228"/>
                  </a:lnTo>
                  <a:lnTo>
                    <a:pt x="10" y="226"/>
                  </a:lnTo>
                  <a:lnTo>
                    <a:pt x="2" y="216"/>
                  </a:lnTo>
                  <a:lnTo>
                    <a:pt x="2" y="194"/>
                  </a:lnTo>
                  <a:lnTo>
                    <a:pt x="0" y="168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E29815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0" name="Freeform 15"/>
            <p:cNvSpPr>
              <a:spLocks/>
            </p:cNvSpPr>
            <p:nvPr/>
          </p:nvSpPr>
          <p:spPr bwMode="gray">
            <a:xfrm>
              <a:off x="2847895" y="3296051"/>
              <a:ext cx="78945" cy="85621"/>
            </a:xfrm>
            <a:custGeom>
              <a:avLst/>
              <a:gdLst>
                <a:gd name="T0" fmla="*/ 46 w 72"/>
                <a:gd name="T1" fmla="*/ 46 h 82"/>
                <a:gd name="T2" fmla="*/ 28 w 72"/>
                <a:gd name="T3" fmla="*/ 50 h 82"/>
                <a:gd name="T4" fmla="*/ 24 w 72"/>
                <a:gd name="T5" fmla="*/ 56 h 82"/>
                <a:gd name="T6" fmla="*/ 24 w 72"/>
                <a:gd name="T7" fmla="*/ 64 h 82"/>
                <a:gd name="T8" fmla="*/ 24 w 72"/>
                <a:gd name="T9" fmla="*/ 74 h 82"/>
                <a:gd name="T10" fmla="*/ 16 w 72"/>
                <a:gd name="T11" fmla="*/ 82 h 82"/>
                <a:gd name="T12" fmla="*/ 12 w 72"/>
                <a:gd name="T13" fmla="*/ 78 h 82"/>
                <a:gd name="T14" fmla="*/ 14 w 72"/>
                <a:gd name="T15" fmla="*/ 68 h 82"/>
                <a:gd name="T16" fmla="*/ 16 w 72"/>
                <a:gd name="T17" fmla="*/ 64 h 82"/>
                <a:gd name="T18" fmla="*/ 14 w 72"/>
                <a:gd name="T19" fmla="*/ 56 h 82"/>
                <a:gd name="T20" fmla="*/ 8 w 72"/>
                <a:gd name="T21" fmla="*/ 54 h 82"/>
                <a:gd name="T22" fmla="*/ 4 w 72"/>
                <a:gd name="T23" fmla="*/ 50 h 82"/>
                <a:gd name="T24" fmla="*/ 4 w 72"/>
                <a:gd name="T25" fmla="*/ 44 h 82"/>
                <a:gd name="T26" fmla="*/ 6 w 72"/>
                <a:gd name="T27" fmla="*/ 38 h 82"/>
                <a:gd name="T28" fmla="*/ 4 w 72"/>
                <a:gd name="T29" fmla="*/ 34 h 82"/>
                <a:gd name="T30" fmla="*/ 0 w 72"/>
                <a:gd name="T31" fmla="*/ 30 h 82"/>
                <a:gd name="T32" fmla="*/ 2 w 72"/>
                <a:gd name="T33" fmla="*/ 24 h 82"/>
                <a:gd name="T34" fmla="*/ 10 w 72"/>
                <a:gd name="T35" fmla="*/ 30 h 82"/>
                <a:gd name="T36" fmla="*/ 14 w 72"/>
                <a:gd name="T37" fmla="*/ 26 h 82"/>
                <a:gd name="T38" fmla="*/ 20 w 72"/>
                <a:gd name="T39" fmla="*/ 16 h 82"/>
                <a:gd name="T40" fmla="*/ 34 w 72"/>
                <a:gd name="T41" fmla="*/ 10 h 82"/>
                <a:gd name="T42" fmla="*/ 44 w 72"/>
                <a:gd name="T43" fmla="*/ 10 h 82"/>
                <a:gd name="T44" fmla="*/ 54 w 72"/>
                <a:gd name="T45" fmla="*/ 10 h 82"/>
                <a:gd name="T46" fmla="*/ 58 w 72"/>
                <a:gd name="T47" fmla="*/ 8 h 82"/>
                <a:gd name="T48" fmla="*/ 58 w 72"/>
                <a:gd name="T49" fmla="*/ 2 h 82"/>
                <a:gd name="T50" fmla="*/ 66 w 72"/>
                <a:gd name="T51" fmla="*/ 0 h 82"/>
                <a:gd name="T52" fmla="*/ 70 w 72"/>
                <a:gd name="T53" fmla="*/ 4 h 82"/>
                <a:gd name="T54" fmla="*/ 72 w 72"/>
                <a:gd name="T55" fmla="*/ 10 h 82"/>
                <a:gd name="T56" fmla="*/ 68 w 72"/>
                <a:gd name="T57" fmla="*/ 12 h 82"/>
                <a:gd name="T58" fmla="*/ 60 w 72"/>
                <a:gd name="T59" fmla="*/ 12 h 82"/>
                <a:gd name="T60" fmla="*/ 60 w 72"/>
                <a:gd name="T61" fmla="*/ 18 h 82"/>
                <a:gd name="T62" fmla="*/ 60 w 72"/>
                <a:gd name="T63" fmla="*/ 26 h 82"/>
                <a:gd name="T64" fmla="*/ 56 w 72"/>
                <a:gd name="T65" fmla="*/ 32 h 82"/>
                <a:gd name="T66" fmla="*/ 52 w 72"/>
                <a:gd name="T67" fmla="*/ 38 h 82"/>
                <a:gd name="T68" fmla="*/ 46 w 72"/>
                <a:gd name="T6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" h="82">
                  <a:moveTo>
                    <a:pt x="46" y="46"/>
                  </a:moveTo>
                  <a:lnTo>
                    <a:pt x="28" y="50"/>
                  </a:lnTo>
                  <a:lnTo>
                    <a:pt x="24" y="56"/>
                  </a:lnTo>
                  <a:lnTo>
                    <a:pt x="24" y="64"/>
                  </a:lnTo>
                  <a:lnTo>
                    <a:pt x="24" y="74"/>
                  </a:lnTo>
                  <a:lnTo>
                    <a:pt x="16" y="82"/>
                  </a:lnTo>
                  <a:lnTo>
                    <a:pt x="12" y="78"/>
                  </a:lnTo>
                  <a:lnTo>
                    <a:pt x="14" y="68"/>
                  </a:lnTo>
                  <a:lnTo>
                    <a:pt x="16" y="64"/>
                  </a:lnTo>
                  <a:lnTo>
                    <a:pt x="14" y="56"/>
                  </a:lnTo>
                  <a:lnTo>
                    <a:pt x="8" y="54"/>
                  </a:lnTo>
                  <a:lnTo>
                    <a:pt x="4" y="50"/>
                  </a:lnTo>
                  <a:lnTo>
                    <a:pt x="4" y="44"/>
                  </a:lnTo>
                  <a:lnTo>
                    <a:pt x="6" y="38"/>
                  </a:lnTo>
                  <a:lnTo>
                    <a:pt x="4" y="34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10" y="30"/>
                  </a:lnTo>
                  <a:lnTo>
                    <a:pt x="14" y="26"/>
                  </a:lnTo>
                  <a:lnTo>
                    <a:pt x="20" y="16"/>
                  </a:lnTo>
                  <a:lnTo>
                    <a:pt x="34" y="10"/>
                  </a:lnTo>
                  <a:lnTo>
                    <a:pt x="44" y="10"/>
                  </a:lnTo>
                  <a:lnTo>
                    <a:pt x="54" y="10"/>
                  </a:lnTo>
                  <a:lnTo>
                    <a:pt x="58" y="8"/>
                  </a:lnTo>
                  <a:lnTo>
                    <a:pt x="58" y="2"/>
                  </a:lnTo>
                  <a:lnTo>
                    <a:pt x="66" y="0"/>
                  </a:lnTo>
                  <a:lnTo>
                    <a:pt x="70" y="4"/>
                  </a:lnTo>
                  <a:lnTo>
                    <a:pt x="72" y="10"/>
                  </a:lnTo>
                  <a:lnTo>
                    <a:pt x="68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0" y="26"/>
                  </a:lnTo>
                  <a:lnTo>
                    <a:pt x="56" y="32"/>
                  </a:lnTo>
                  <a:lnTo>
                    <a:pt x="52" y="38"/>
                  </a:lnTo>
                  <a:lnTo>
                    <a:pt x="46" y="46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1" name="Freeform 16"/>
            <p:cNvSpPr>
              <a:spLocks/>
            </p:cNvSpPr>
            <p:nvPr/>
          </p:nvSpPr>
          <p:spPr bwMode="gray">
            <a:xfrm>
              <a:off x="2849234" y="3258592"/>
              <a:ext cx="53522" cy="40135"/>
            </a:xfrm>
            <a:custGeom>
              <a:avLst/>
              <a:gdLst>
                <a:gd name="T0" fmla="*/ 42 w 48"/>
                <a:gd name="T1" fmla="*/ 28 h 40"/>
                <a:gd name="T2" fmla="*/ 36 w 48"/>
                <a:gd name="T3" fmla="*/ 28 h 40"/>
                <a:gd name="T4" fmla="*/ 32 w 48"/>
                <a:gd name="T5" fmla="*/ 30 h 40"/>
                <a:gd name="T6" fmla="*/ 34 w 48"/>
                <a:gd name="T7" fmla="*/ 36 h 40"/>
                <a:gd name="T8" fmla="*/ 30 w 48"/>
                <a:gd name="T9" fmla="*/ 40 h 40"/>
                <a:gd name="T10" fmla="*/ 22 w 48"/>
                <a:gd name="T11" fmla="*/ 40 h 40"/>
                <a:gd name="T12" fmla="*/ 22 w 48"/>
                <a:gd name="T13" fmla="*/ 32 h 40"/>
                <a:gd name="T14" fmla="*/ 16 w 48"/>
                <a:gd name="T15" fmla="*/ 24 h 40"/>
                <a:gd name="T16" fmla="*/ 10 w 48"/>
                <a:gd name="T17" fmla="*/ 26 h 40"/>
                <a:gd name="T18" fmla="*/ 4 w 48"/>
                <a:gd name="T19" fmla="*/ 24 h 40"/>
                <a:gd name="T20" fmla="*/ 0 w 48"/>
                <a:gd name="T21" fmla="*/ 20 h 40"/>
                <a:gd name="T22" fmla="*/ 6 w 48"/>
                <a:gd name="T23" fmla="*/ 16 h 40"/>
                <a:gd name="T24" fmla="*/ 14 w 48"/>
                <a:gd name="T25" fmla="*/ 14 h 40"/>
                <a:gd name="T26" fmla="*/ 20 w 48"/>
                <a:gd name="T27" fmla="*/ 12 h 40"/>
                <a:gd name="T28" fmla="*/ 22 w 48"/>
                <a:gd name="T29" fmla="*/ 6 h 40"/>
                <a:gd name="T30" fmla="*/ 26 w 48"/>
                <a:gd name="T31" fmla="*/ 0 h 40"/>
                <a:gd name="T32" fmla="*/ 30 w 48"/>
                <a:gd name="T33" fmla="*/ 6 h 40"/>
                <a:gd name="T34" fmla="*/ 36 w 48"/>
                <a:gd name="T35" fmla="*/ 8 h 40"/>
                <a:gd name="T36" fmla="*/ 42 w 48"/>
                <a:gd name="T37" fmla="*/ 10 h 40"/>
                <a:gd name="T38" fmla="*/ 48 w 48"/>
                <a:gd name="T39" fmla="*/ 18 h 40"/>
                <a:gd name="T40" fmla="*/ 46 w 48"/>
                <a:gd name="T41" fmla="*/ 22 h 40"/>
                <a:gd name="T42" fmla="*/ 42 w 48"/>
                <a:gd name="T43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0">
                  <a:moveTo>
                    <a:pt x="42" y="28"/>
                  </a:moveTo>
                  <a:lnTo>
                    <a:pt x="36" y="28"/>
                  </a:lnTo>
                  <a:lnTo>
                    <a:pt x="32" y="30"/>
                  </a:lnTo>
                  <a:lnTo>
                    <a:pt x="34" y="36"/>
                  </a:lnTo>
                  <a:lnTo>
                    <a:pt x="30" y="40"/>
                  </a:lnTo>
                  <a:lnTo>
                    <a:pt x="22" y="40"/>
                  </a:lnTo>
                  <a:lnTo>
                    <a:pt x="22" y="32"/>
                  </a:lnTo>
                  <a:lnTo>
                    <a:pt x="16" y="24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6" y="16"/>
                  </a:lnTo>
                  <a:lnTo>
                    <a:pt x="14" y="14"/>
                  </a:lnTo>
                  <a:lnTo>
                    <a:pt x="20" y="12"/>
                  </a:lnTo>
                  <a:lnTo>
                    <a:pt x="22" y="6"/>
                  </a:lnTo>
                  <a:lnTo>
                    <a:pt x="26" y="0"/>
                  </a:lnTo>
                  <a:lnTo>
                    <a:pt x="30" y="6"/>
                  </a:lnTo>
                  <a:lnTo>
                    <a:pt x="36" y="8"/>
                  </a:lnTo>
                  <a:lnTo>
                    <a:pt x="42" y="10"/>
                  </a:lnTo>
                  <a:lnTo>
                    <a:pt x="48" y="18"/>
                  </a:lnTo>
                  <a:lnTo>
                    <a:pt x="46" y="22"/>
                  </a:lnTo>
                  <a:lnTo>
                    <a:pt x="42" y="28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2" name="Freeform 17"/>
            <p:cNvSpPr>
              <a:spLocks/>
            </p:cNvSpPr>
            <p:nvPr/>
          </p:nvSpPr>
          <p:spPr bwMode="gray">
            <a:xfrm>
              <a:off x="2904013" y="3162109"/>
              <a:ext cx="287680" cy="210038"/>
            </a:xfrm>
            <a:custGeom>
              <a:avLst/>
              <a:gdLst>
                <a:gd name="T0" fmla="*/ 6 w 262"/>
                <a:gd name="T1" fmla="*/ 100 h 202"/>
                <a:gd name="T2" fmla="*/ 2 w 262"/>
                <a:gd name="T3" fmla="*/ 92 h 202"/>
                <a:gd name="T4" fmla="*/ 18 w 262"/>
                <a:gd name="T5" fmla="*/ 88 h 202"/>
                <a:gd name="T6" fmla="*/ 16 w 262"/>
                <a:gd name="T7" fmla="*/ 70 h 202"/>
                <a:gd name="T8" fmla="*/ 28 w 262"/>
                <a:gd name="T9" fmla="*/ 64 h 202"/>
                <a:gd name="T10" fmla="*/ 42 w 262"/>
                <a:gd name="T11" fmla="*/ 52 h 202"/>
                <a:gd name="T12" fmla="*/ 64 w 262"/>
                <a:gd name="T13" fmla="*/ 38 h 202"/>
                <a:gd name="T14" fmla="*/ 76 w 262"/>
                <a:gd name="T15" fmla="*/ 30 h 202"/>
                <a:gd name="T16" fmla="*/ 106 w 262"/>
                <a:gd name="T17" fmla="*/ 26 h 202"/>
                <a:gd name="T18" fmla="*/ 112 w 262"/>
                <a:gd name="T19" fmla="*/ 22 h 202"/>
                <a:gd name="T20" fmla="*/ 118 w 262"/>
                <a:gd name="T21" fmla="*/ 16 h 202"/>
                <a:gd name="T22" fmla="*/ 148 w 262"/>
                <a:gd name="T23" fmla="*/ 10 h 202"/>
                <a:gd name="T24" fmla="*/ 176 w 262"/>
                <a:gd name="T25" fmla="*/ 16 h 202"/>
                <a:gd name="T26" fmla="*/ 192 w 262"/>
                <a:gd name="T27" fmla="*/ 12 h 202"/>
                <a:gd name="T28" fmla="*/ 226 w 262"/>
                <a:gd name="T29" fmla="*/ 6 h 202"/>
                <a:gd name="T30" fmla="*/ 238 w 262"/>
                <a:gd name="T31" fmla="*/ 2 h 202"/>
                <a:gd name="T32" fmla="*/ 238 w 262"/>
                <a:gd name="T33" fmla="*/ 12 h 202"/>
                <a:gd name="T34" fmla="*/ 230 w 262"/>
                <a:gd name="T35" fmla="*/ 50 h 202"/>
                <a:gd name="T36" fmla="*/ 220 w 262"/>
                <a:gd name="T37" fmla="*/ 68 h 202"/>
                <a:gd name="T38" fmla="*/ 230 w 262"/>
                <a:gd name="T39" fmla="*/ 94 h 202"/>
                <a:gd name="T40" fmla="*/ 234 w 262"/>
                <a:gd name="T41" fmla="*/ 124 h 202"/>
                <a:gd name="T42" fmla="*/ 248 w 262"/>
                <a:gd name="T43" fmla="*/ 136 h 202"/>
                <a:gd name="T44" fmla="*/ 262 w 262"/>
                <a:gd name="T45" fmla="*/ 154 h 202"/>
                <a:gd name="T46" fmla="*/ 250 w 262"/>
                <a:gd name="T47" fmla="*/ 162 h 202"/>
                <a:gd name="T48" fmla="*/ 244 w 262"/>
                <a:gd name="T49" fmla="*/ 176 h 202"/>
                <a:gd name="T50" fmla="*/ 230 w 262"/>
                <a:gd name="T51" fmla="*/ 190 h 202"/>
                <a:gd name="T52" fmla="*/ 206 w 262"/>
                <a:gd name="T53" fmla="*/ 200 h 202"/>
                <a:gd name="T54" fmla="*/ 198 w 262"/>
                <a:gd name="T55" fmla="*/ 196 h 202"/>
                <a:gd name="T56" fmla="*/ 170 w 262"/>
                <a:gd name="T57" fmla="*/ 178 h 202"/>
                <a:gd name="T58" fmla="*/ 148 w 262"/>
                <a:gd name="T59" fmla="*/ 174 h 202"/>
                <a:gd name="T60" fmla="*/ 124 w 262"/>
                <a:gd name="T61" fmla="*/ 168 h 202"/>
                <a:gd name="T62" fmla="*/ 94 w 262"/>
                <a:gd name="T63" fmla="*/ 184 h 202"/>
                <a:gd name="T64" fmla="*/ 82 w 262"/>
                <a:gd name="T65" fmla="*/ 180 h 202"/>
                <a:gd name="T66" fmla="*/ 82 w 262"/>
                <a:gd name="T67" fmla="*/ 156 h 202"/>
                <a:gd name="T68" fmla="*/ 84 w 262"/>
                <a:gd name="T69" fmla="*/ 144 h 202"/>
                <a:gd name="T70" fmla="*/ 68 w 262"/>
                <a:gd name="T71" fmla="*/ 150 h 202"/>
                <a:gd name="T72" fmla="*/ 58 w 262"/>
                <a:gd name="T73" fmla="*/ 158 h 202"/>
                <a:gd name="T74" fmla="*/ 44 w 262"/>
                <a:gd name="T75" fmla="*/ 154 h 202"/>
                <a:gd name="T76" fmla="*/ 28 w 262"/>
                <a:gd name="T77" fmla="*/ 136 h 202"/>
                <a:gd name="T78" fmla="*/ 36 w 262"/>
                <a:gd name="T79" fmla="*/ 114 h 202"/>
                <a:gd name="T80" fmla="*/ 22 w 262"/>
                <a:gd name="T81" fmla="*/ 106 h 202"/>
                <a:gd name="T82" fmla="*/ 16 w 262"/>
                <a:gd name="T83" fmla="*/ 10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2" h="202">
                  <a:moveTo>
                    <a:pt x="16" y="100"/>
                  </a:moveTo>
                  <a:lnTo>
                    <a:pt x="6" y="100"/>
                  </a:lnTo>
                  <a:lnTo>
                    <a:pt x="0" y="98"/>
                  </a:lnTo>
                  <a:lnTo>
                    <a:pt x="2" y="92"/>
                  </a:lnTo>
                  <a:lnTo>
                    <a:pt x="12" y="92"/>
                  </a:lnTo>
                  <a:lnTo>
                    <a:pt x="18" y="88"/>
                  </a:lnTo>
                  <a:lnTo>
                    <a:pt x="18" y="78"/>
                  </a:lnTo>
                  <a:lnTo>
                    <a:pt x="16" y="70"/>
                  </a:lnTo>
                  <a:lnTo>
                    <a:pt x="26" y="68"/>
                  </a:lnTo>
                  <a:lnTo>
                    <a:pt x="28" y="64"/>
                  </a:lnTo>
                  <a:lnTo>
                    <a:pt x="42" y="64"/>
                  </a:lnTo>
                  <a:lnTo>
                    <a:pt x="42" y="52"/>
                  </a:lnTo>
                  <a:lnTo>
                    <a:pt x="54" y="40"/>
                  </a:lnTo>
                  <a:lnTo>
                    <a:pt x="64" y="38"/>
                  </a:lnTo>
                  <a:lnTo>
                    <a:pt x="74" y="38"/>
                  </a:lnTo>
                  <a:lnTo>
                    <a:pt x="76" y="30"/>
                  </a:lnTo>
                  <a:lnTo>
                    <a:pt x="92" y="28"/>
                  </a:lnTo>
                  <a:lnTo>
                    <a:pt x="106" y="26"/>
                  </a:lnTo>
                  <a:lnTo>
                    <a:pt x="108" y="24"/>
                  </a:lnTo>
                  <a:lnTo>
                    <a:pt x="112" y="22"/>
                  </a:lnTo>
                  <a:lnTo>
                    <a:pt x="108" y="14"/>
                  </a:lnTo>
                  <a:lnTo>
                    <a:pt x="118" y="16"/>
                  </a:lnTo>
                  <a:lnTo>
                    <a:pt x="120" y="10"/>
                  </a:lnTo>
                  <a:lnTo>
                    <a:pt x="148" y="10"/>
                  </a:lnTo>
                  <a:lnTo>
                    <a:pt x="164" y="6"/>
                  </a:lnTo>
                  <a:lnTo>
                    <a:pt x="176" y="16"/>
                  </a:lnTo>
                  <a:lnTo>
                    <a:pt x="186" y="16"/>
                  </a:lnTo>
                  <a:lnTo>
                    <a:pt x="192" y="12"/>
                  </a:lnTo>
                  <a:lnTo>
                    <a:pt x="216" y="8"/>
                  </a:lnTo>
                  <a:lnTo>
                    <a:pt x="226" y="6"/>
                  </a:lnTo>
                  <a:lnTo>
                    <a:pt x="232" y="0"/>
                  </a:lnTo>
                  <a:lnTo>
                    <a:pt x="238" y="2"/>
                  </a:lnTo>
                  <a:lnTo>
                    <a:pt x="242" y="8"/>
                  </a:lnTo>
                  <a:lnTo>
                    <a:pt x="238" y="12"/>
                  </a:lnTo>
                  <a:lnTo>
                    <a:pt x="230" y="20"/>
                  </a:lnTo>
                  <a:lnTo>
                    <a:pt x="230" y="50"/>
                  </a:lnTo>
                  <a:lnTo>
                    <a:pt x="224" y="56"/>
                  </a:lnTo>
                  <a:lnTo>
                    <a:pt x="220" y="68"/>
                  </a:lnTo>
                  <a:lnTo>
                    <a:pt x="222" y="80"/>
                  </a:lnTo>
                  <a:lnTo>
                    <a:pt x="230" y="94"/>
                  </a:lnTo>
                  <a:lnTo>
                    <a:pt x="234" y="108"/>
                  </a:lnTo>
                  <a:lnTo>
                    <a:pt x="234" y="124"/>
                  </a:lnTo>
                  <a:lnTo>
                    <a:pt x="242" y="134"/>
                  </a:lnTo>
                  <a:lnTo>
                    <a:pt x="248" y="136"/>
                  </a:lnTo>
                  <a:lnTo>
                    <a:pt x="250" y="146"/>
                  </a:lnTo>
                  <a:lnTo>
                    <a:pt x="262" y="154"/>
                  </a:lnTo>
                  <a:lnTo>
                    <a:pt x="256" y="160"/>
                  </a:lnTo>
                  <a:lnTo>
                    <a:pt x="250" y="162"/>
                  </a:lnTo>
                  <a:lnTo>
                    <a:pt x="246" y="172"/>
                  </a:lnTo>
                  <a:lnTo>
                    <a:pt x="244" y="176"/>
                  </a:lnTo>
                  <a:lnTo>
                    <a:pt x="244" y="190"/>
                  </a:lnTo>
                  <a:lnTo>
                    <a:pt x="230" y="190"/>
                  </a:lnTo>
                  <a:lnTo>
                    <a:pt x="218" y="190"/>
                  </a:lnTo>
                  <a:lnTo>
                    <a:pt x="206" y="200"/>
                  </a:lnTo>
                  <a:lnTo>
                    <a:pt x="202" y="202"/>
                  </a:lnTo>
                  <a:lnTo>
                    <a:pt x="198" y="196"/>
                  </a:lnTo>
                  <a:lnTo>
                    <a:pt x="188" y="196"/>
                  </a:lnTo>
                  <a:lnTo>
                    <a:pt x="170" y="178"/>
                  </a:lnTo>
                  <a:lnTo>
                    <a:pt x="160" y="178"/>
                  </a:lnTo>
                  <a:lnTo>
                    <a:pt x="148" y="174"/>
                  </a:lnTo>
                  <a:lnTo>
                    <a:pt x="132" y="166"/>
                  </a:lnTo>
                  <a:lnTo>
                    <a:pt x="124" y="168"/>
                  </a:lnTo>
                  <a:lnTo>
                    <a:pt x="116" y="166"/>
                  </a:lnTo>
                  <a:lnTo>
                    <a:pt x="94" y="184"/>
                  </a:lnTo>
                  <a:lnTo>
                    <a:pt x="82" y="192"/>
                  </a:lnTo>
                  <a:lnTo>
                    <a:pt x="82" y="180"/>
                  </a:lnTo>
                  <a:lnTo>
                    <a:pt x="86" y="162"/>
                  </a:lnTo>
                  <a:lnTo>
                    <a:pt x="82" y="156"/>
                  </a:lnTo>
                  <a:lnTo>
                    <a:pt x="86" y="150"/>
                  </a:lnTo>
                  <a:lnTo>
                    <a:pt x="84" y="144"/>
                  </a:lnTo>
                  <a:lnTo>
                    <a:pt x="76" y="142"/>
                  </a:lnTo>
                  <a:lnTo>
                    <a:pt x="68" y="150"/>
                  </a:lnTo>
                  <a:lnTo>
                    <a:pt x="68" y="162"/>
                  </a:lnTo>
                  <a:lnTo>
                    <a:pt x="58" y="158"/>
                  </a:lnTo>
                  <a:lnTo>
                    <a:pt x="56" y="156"/>
                  </a:lnTo>
                  <a:lnTo>
                    <a:pt x="44" y="154"/>
                  </a:lnTo>
                  <a:lnTo>
                    <a:pt x="36" y="136"/>
                  </a:lnTo>
                  <a:lnTo>
                    <a:pt x="28" y="136"/>
                  </a:lnTo>
                  <a:lnTo>
                    <a:pt x="26" y="122"/>
                  </a:lnTo>
                  <a:lnTo>
                    <a:pt x="36" y="114"/>
                  </a:lnTo>
                  <a:lnTo>
                    <a:pt x="22" y="114"/>
                  </a:lnTo>
                  <a:lnTo>
                    <a:pt x="22" y="106"/>
                  </a:lnTo>
                  <a:lnTo>
                    <a:pt x="18" y="104"/>
                  </a:lnTo>
                  <a:lnTo>
                    <a:pt x="16" y="100"/>
                  </a:lnTo>
                  <a:close/>
                </a:path>
              </a:pathLst>
            </a:custGeom>
            <a:solidFill>
              <a:srgbClr val="7030A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3" name="Freeform 18"/>
            <p:cNvSpPr>
              <a:spLocks/>
            </p:cNvSpPr>
            <p:nvPr/>
          </p:nvSpPr>
          <p:spPr bwMode="gray">
            <a:xfrm>
              <a:off x="2924085" y="1873931"/>
              <a:ext cx="895152" cy="1983993"/>
            </a:xfrm>
            <a:custGeom>
              <a:avLst/>
              <a:gdLst>
                <a:gd name="T0" fmla="*/ 246 w 818"/>
                <a:gd name="T1" fmla="*/ 1196 h 1903"/>
                <a:gd name="T2" fmla="*/ 320 w 818"/>
                <a:gd name="T3" fmla="*/ 1164 h 1903"/>
                <a:gd name="T4" fmla="*/ 378 w 818"/>
                <a:gd name="T5" fmla="*/ 1110 h 1903"/>
                <a:gd name="T6" fmla="*/ 428 w 818"/>
                <a:gd name="T7" fmla="*/ 1052 h 1903"/>
                <a:gd name="T8" fmla="*/ 488 w 818"/>
                <a:gd name="T9" fmla="*/ 996 h 1903"/>
                <a:gd name="T10" fmla="*/ 552 w 818"/>
                <a:gd name="T11" fmla="*/ 960 h 1903"/>
                <a:gd name="T12" fmla="*/ 488 w 818"/>
                <a:gd name="T13" fmla="*/ 862 h 1903"/>
                <a:gd name="T14" fmla="*/ 432 w 818"/>
                <a:gd name="T15" fmla="*/ 846 h 1903"/>
                <a:gd name="T16" fmla="*/ 468 w 818"/>
                <a:gd name="T17" fmla="*/ 890 h 1903"/>
                <a:gd name="T18" fmla="*/ 444 w 818"/>
                <a:gd name="T19" fmla="*/ 884 h 1903"/>
                <a:gd name="T20" fmla="*/ 424 w 818"/>
                <a:gd name="T21" fmla="*/ 896 h 1903"/>
                <a:gd name="T22" fmla="*/ 480 w 818"/>
                <a:gd name="T23" fmla="*/ 946 h 1903"/>
                <a:gd name="T24" fmla="*/ 512 w 818"/>
                <a:gd name="T25" fmla="*/ 982 h 1903"/>
                <a:gd name="T26" fmla="*/ 486 w 818"/>
                <a:gd name="T27" fmla="*/ 994 h 1903"/>
                <a:gd name="T28" fmla="*/ 426 w 818"/>
                <a:gd name="T29" fmla="*/ 1054 h 1903"/>
                <a:gd name="T30" fmla="*/ 346 w 818"/>
                <a:gd name="T31" fmla="*/ 1010 h 1903"/>
                <a:gd name="T32" fmla="*/ 282 w 818"/>
                <a:gd name="T33" fmla="*/ 1008 h 1903"/>
                <a:gd name="T34" fmla="*/ 286 w 818"/>
                <a:gd name="T35" fmla="*/ 1066 h 1903"/>
                <a:gd name="T36" fmla="*/ 350 w 818"/>
                <a:gd name="T37" fmla="*/ 1140 h 1903"/>
                <a:gd name="T38" fmla="*/ 304 w 818"/>
                <a:gd name="T39" fmla="*/ 1160 h 1903"/>
                <a:gd name="T40" fmla="*/ 220 w 818"/>
                <a:gd name="T41" fmla="*/ 1128 h 1903"/>
                <a:gd name="T42" fmla="*/ 208 w 818"/>
                <a:gd name="T43" fmla="*/ 1082 h 1903"/>
                <a:gd name="T44" fmla="*/ 244 w 818"/>
                <a:gd name="T45" fmla="*/ 830 h 1903"/>
                <a:gd name="T46" fmla="*/ 180 w 818"/>
                <a:gd name="T47" fmla="*/ 730 h 1903"/>
                <a:gd name="T48" fmla="*/ 138 w 818"/>
                <a:gd name="T49" fmla="*/ 664 h 1903"/>
                <a:gd name="T50" fmla="*/ 72 w 818"/>
                <a:gd name="T51" fmla="*/ 490 h 1903"/>
                <a:gd name="T52" fmla="*/ 10 w 818"/>
                <a:gd name="T53" fmla="*/ 320 h 1903"/>
                <a:gd name="T54" fmla="*/ 62 w 818"/>
                <a:gd name="T55" fmla="*/ 218 h 1903"/>
                <a:gd name="T56" fmla="*/ 118 w 818"/>
                <a:gd name="T57" fmla="*/ 222 h 1903"/>
                <a:gd name="T58" fmla="*/ 182 w 818"/>
                <a:gd name="T59" fmla="*/ 212 h 1903"/>
                <a:gd name="T60" fmla="*/ 386 w 818"/>
                <a:gd name="T61" fmla="*/ 252 h 1903"/>
                <a:gd name="T62" fmla="*/ 496 w 818"/>
                <a:gd name="T63" fmla="*/ 296 h 1903"/>
                <a:gd name="T64" fmla="*/ 438 w 818"/>
                <a:gd name="T65" fmla="*/ 474 h 1903"/>
                <a:gd name="T66" fmla="*/ 272 w 818"/>
                <a:gd name="T67" fmla="*/ 472 h 1903"/>
                <a:gd name="T68" fmla="*/ 184 w 818"/>
                <a:gd name="T69" fmla="*/ 454 h 1903"/>
                <a:gd name="T70" fmla="*/ 264 w 818"/>
                <a:gd name="T71" fmla="*/ 514 h 1903"/>
                <a:gd name="T72" fmla="*/ 334 w 818"/>
                <a:gd name="T73" fmla="*/ 586 h 1903"/>
                <a:gd name="T74" fmla="*/ 392 w 818"/>
                <a:gd name="T75" fmla="*/ 674 h 1903"/>
                <a:gd name="T76" fmla="*/ 500 w 818"/>
                <a:gd name="T77" fmla="*/ 694 h 1903"/>
                <a:gd name="T78" fmla="*/ 442 w 818"/>
                <a:gd name="T79" fmla="*/ 618 h 1903"/>
                <a:gd name="T80" fmla="*/ 496 w 818"/>
                <a:gd name="T81" fmla="*/ 590 h 1903"/>
                <a:gd name="T82" fmla="*/ 614 w 818"/>
                <a:gd name="T83" fmla="*/ 574 h 1903"/>
                <a:gd name="T84" fmla="*/ 530 w 818"/>
                <a:gd name="T85" fmla="*/ 484 h 1903"/>
                <a:gd name="T86" fmla="*/ 604 w 818"/>
                <a:gd name="T87" fmla="*/ 366 h 1903"/>
                <a:gd name="T88" fmla="*/ 664 w 818"/>
                <a:gd name="T89" fmla="*/ 372 h 1903"/>
                <a:gd name="T90" fmla="*/ 614 w 818"/>
                <a:gd name="T91" fmla="*/ 274 h 1903"/>
                <a:gd name="T92" fmla="*/ 532 w 818"/>
                <a:gd name="T93" fmla="*/ 158 h 1903"/>
                <a:gd name="T94" fmla="*/ 624 w 818"/>
                <a:gd name="T95" fmla="*/ 128 h 1903"/>
                <a:gd name="T96" fmla="*/ 634 w 818"/>
                <a:gd name="T97" fmla="*/ 224 h 1903"/>
                <a:gd name="T98" fmla="*/ 716 w 818"/>
                <a:gd name="T99" fmla="*/ 254 h 1903"/>
                <a:gd name="T100" fmla="*/ 750 w 818"/>
                <a:gd name="T101" fmla="*/ 140 h 1903"/>
                <a:gd name="T102" fmla="*/ 804 w 818"/>
                <a:gd name="T103" fmla="*/ 16 h 1903"/>
                <a:gd name="T104" fmla="*/ 768 w 818"/>
                <a:gd name="T105" fmla="*/ 1890 h 1903"/>
                <a:gd name="T106" fmla="*/ 680 w 818"/>
                <a:gd name="T107" fmla="*/ 1818 h 1903"/>
                <a:gd name="T108" fmla="*/ 576 w 818"/>
                <a:gd name="T109" fmla="*/ 1808 h 1903"/>
                <a:gd name="T110" fmla="*/ 612 w 818"/>
                <a:gd name="T111" fmla="*/ 1744 h 1903"/>
                <a:gd name="T112" fmla="*/ 556 w 818"/>
                <a:gd name="T113" fmla="*/ 1686 h 1903"/>
                <a:gd name="T114" fmla="*/ 462 w 818"/>
                <a:gd name="T115" fmla="*/ 1558 h 1903"/>
                <a:gd name="T116" fmla="*/ 352 w 818"/>
                <a:gd name="T117" fmla="*/ 1546 h 1903"/>
                <a:gd name="T118" fmla="*/ 270 w 818"/>
                <a:gd name="T119" fmla="*/ 1482 h 1903"/>
                <a:gd name="T120" fmla="*/ 226 w 818"/>
                <a:gd name="T121" fmla="*/ 1412 h 1903"/>
                <a:gd name="T122" fmla="*/ 204 w 818"/>
                <a:gd name="T123" fmla="*/ 1316 h 1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8" h="1903">
                  <a:moveTo>
                    <a:pt x="214" y="1236"/>
                  </a:moveTo>
                  <a:lnTo>
                    <a:pt x="216" y="1224"/>
                  </a:lnTo>
                  <a:lnTo>
                    <a:pt x="210" y="1220"/>
                  </a:lnTo>
                  <a:lnTo>
                    <a:pt x="206" y="1212"/>
                  </a:lnTo>
                  <a:lnTo>
                    <a:pt x="212" y="1206"/>
                  </a:lnTo>
                  <a:lnTo>
                    <a:pt x="218" y="1210"/>
                  </a:lnTo>
                  <a:lnTo>
                    <a:pt x="226" y="1216"/>
                  </a:lnTo>
                  <a:lnTo>
                    <a:pt x="226" y="1196"/>
                  </a:lnTo>
                  <a:lnTo>
                    <a:pt x="232" y="1196"/>
                  </a:lnTo>
                  <a:lnTo>
                    <a:pt x="246" y="1196"/>
                  </a:lnTo>
                  <a:lnTo>
                    <a:pt x="248" y="1194"/>
                  </a:lnTo>
                  <a:lnTo>
                    <a:pt x="250" y="1190"/>
                  </a:lnTo>
                  <a:lnTo>
                    <a:pt x="252" y="1174"/>
                  </a:lnTo>
                  <a:lnTo>
                    <a:pt x="262" y="1170"/>
                  </a:lnTo>
                  <a:lnTo>
                    <a:pt x="280" y="1166"/>
                  </a:lnTo>
                  <a:lnTo>
                    <a:pt x="288" y="1170"/>
                  </a:lnTo>
                  <a:lnTo>
                    <a:pt x="298" y="1172"/>
                  </a:lnTo>
                  <a:lnTo>
                    <a:pt x="308" y="1168"/>
                  </a:lnTo>
                  <a:lnTo>
                    <a:pt x="314" y="1164"/>
                  </a:lnTo>
                  <a:lnTo>
                    <a:pt x="320" y="1164"/>
                  </a:lnTo>
                  <a:lnTo>
                    <a:pt x="326" y="1168"/>
                  </a:lnTo>
                  <a:lnTo>
                    <a:pt x="336" y="1168"/>
                  </a:lnTo>
                  <a:lnTo>
                    <a:pt x="346" y="1158"/>
                  </a:lnTo>
                  <a:lnTo>
                    <a:pt x="348" y="1150"/>
                  </a:lnTo>
                  <a:lnTo>
                    <a:pt x="358" y="1150"/>
                  </a:lnTo>
                  <a:lnTo>
                    <a:pt x="366" y="1148"/>
                  </a:lnTo>
                  <a:lnTo>
                    <a:pt x="372" y="1144"/>
                  </a:lnTo>
                  <a:lnTo>
                    <a:pt x="366" y="1132"/>
                  </a:lnTo>
                  <a:lnTo>
                    <a:pt x="368" y="1118"/>
                  </a:lnTo>
                  <a:lnTo>
                    <a:pt x="378" y="1110"/>
                  </a:lnTo>
                  <a:lnTo>
                    <a:pt x="388" y="1112"/>
                  </a:lnTo>
                  <a:lnTo>
                    <a:pt x="400" y="1116"/>
                  </a:lnTo>
                  <a:lnTo>
                    <a:pt x="410" y="1108"/>
                  </a:lnTo>
                  <a:lnTo>
                    <a:pt x="408" y="1094"/>
                  </a:lnTo>
                  <a:lnTo>
                    <a:pt x="408" y="1082"/>
                  </a:lnTo>
                  <a:lnTo>
                    <a:pt x="406" y="1074"/>
                  </a:lnTo>
                  <a:lnTo>
                    <a:pt x="414" y="1074"/>
                  </a:lnTo>
                  <a:lnTo>
                    <a:pt x="424" y="1066"/>
                  </a:lnTo>
                  <a:lnTo>
                    <a:pt x="426" y="1058"/>
                  </a:lnTo>
                  <a:lnTo>
                    <a:pt x="428" y="1052"/>
                  </a:lnTo>
                  <a:lnTo>
                    <a:pt x="440" y="1038"/>
                  </a:lnTo>
                  <a:lnTo>
                    <a:pt x="446" y="1030"/>
                  </a:lnTo>
                  <a:lnTo>
                    <a:pt x="446" y="1024"/>
                  </a:lnTo>
                  <a:lnTo>
                    <a:pt x="446" y="1020"/>
                  </a:lnTo>
                  <a:lnTo>
                    <a:pt x="446" y="1018"/>
                  </a:lnTo>
                  <a:lnTo>
                    <a:pt x="452" y="1016"/>
                  </a:lnTo>
                  <a:lnTo>
                    <a:pt x="458" y="1014"/>
                  </a:lnTo>
                  <a:lnTo>
                    <a:pt x="468" y="1010"/>
                  </a:lnTo>
                  <a:lnTo>
                    <a:pt x="476" y="1000"/>
                  </a:lnTo>
                  <a:lnTo>
                    <a:pt x="488" y="996"/>
                  </a:lnTo>
                  <a:lnTo>
                    <a:pt x="490" y="986"/>
                  </a:lnTo>
                  <a:lnTo>
                    <a:pt x="500" y="984"/>
                  </a:lnTo>
                  <a:lnTo>
                    <a:pt x="510" y="986"/>
                  </a:lnTo>
                  <a:lnTo>
                    <a:pt x="516" y="982"/>
                  </a:lnTo>
                  <a:lnTo>
                    <a:pt x="520" y="990"/>
                  </a:lnTo>
                  <a:lnTo>
                    <a:pt x="530" y="992"/>
                  </a:lnTo>
                  <a:lnTo>
                    <a:pt x="540" y="986"/>
                  </a:lnTo>
                  <a:lnTo>
                    <a:pt x="542" y="978"/>
                  </a:lnTo>
                  <a:lnTo>
                    <a:pt x="546" y="966"/>
                  </a:lnTo>
                  <a:lnTo>
                    <a:pt x="552" y="960"/>
                  </a:lnTo>
                  <a:lnTo>
                    <a:pt x="550" y="944"/>
                  </a:lnTo>
                  <a:lnTo>
                    <a:pt x="548" y="932"/>
                  </a:lnTo>
                  <a:lnTo>
                    <a:pt x="542" y="928"/>
                  </a:lnTo>
                  <a:lnTo>
                    <a:pt x="534" y="926"/>
                  </a:lnTo>
                  <a:lnTo>
                    <a:pt x="524" y="916"/>
                  </a:lnTo>
                  <a:lnTo>
                    <a:pt x="506" y="902"/>
                  </a:lnTo>
                  <a:lnTo>
                    <a:pt x="502" y="892"/>
                  </a:lnTo>
                  <a:lnTo>
                    <a:pt x="494" y="886"/>
                  </a:lnTo>
                  <a:lnTo>
                    <a:pt x="488" y="880"/>
                  </a:lnTo>
                  <a:lnTo>
                    <a:pt x="488" y="862"/>
                  </a:lnTo>
                  <a:lnTo>
                    <a:pt x="486" y="848"/>
                  </a:lnTo>
                  <a:lnTo>
                    <a:pt x="474" y="838"/>
                  </a:lnTo>
                  <a:lnTo>
                    <a:pt x="458" y="834"/>
                  </a:lnTo>
                  <a:lnTo>
                    <a:pt x="442" y="832"/>
                  </a:lnTo>
                  <a:lnTo>
                    <a:pt x="434" y="824"/>
                  </a:lnTo>
                  <a:lnTo>
                    <a:pt x="422" y="826"/>
                  </a:lnTo>
                  <a:lnTo>
                    <a:pt x="414" y="822"/>
                  </a:lnTo>
                  <a:lnTo>
                    <a:pt x="412" y="828"/>
                  </a:lnTo>
                  <a:lnTo>
                    <a:pt x="420" y="838"/>
                  </a:lnTo>
                  <a:lnTo>
                    <a:pt x="432" y="846"/>
                  </a:lnTo>
                  <a:lnTo>
                    <a:pt x="442" y="844"/>
                  </a:lnTo>
                  <a:lnTo>
                    <a:pt x="458" y="844"/>
                  </a:lnTo>
                  <a:lnTo>
                    <a:pt x="468" y="854"/>
                  </a:lnTo>
                  <a:lnTo>
                    <a:pt x="478" y="862"/>
                  </a:lnTo>
                  <a:lnTo>
                    <a:pt x="478" y="872"/>
                  </a:lnTo>
                  <a:lnTo>
                    <a:pt x="476" y="878"/>
                  </a:lnTo>
                  <a:lnTo>
                    <a:pt x="468" y="878"/>
                  </a:lnTo>
                  <a:lnTo>
                    <a:pt x="460" y="878"/>
                  </a:lnTo>
                  <a:lnTo>
                    <a:pt x="462" y="884"/>
                  </a:lnTo>
                  <a:lnTo>
                    <a:pt x="468" y="890"/>
                  </a:lnTo>
                  <a:lnTo>
                    <a:pt x="466" y="894"/>
                  </a:lnTo>
                  <a:lnTo>
                    <a:pt x="456" y="886"/>
                  </a:lnTo>
                  <a:lnTo>
                    <a:pt x="448" y="878"/>
                  </a:lnTo>
                  <a:lnTo>
                    <a:pt x="442" y="868"/>
                  </a:lnTo>
                  <a:lnTo>
                    <a:pt x="432" y="860"/>
                  </a:lnTo>
                  <a:lnTo>
                    <a:pt x="428" y="860"/>
                  </a:lnTo>
                  <a:lnTo>
                    <a:pt x="430" y="866"/>
                  </a:lnTo>
                  <a:lnTo>
                    <a:pt x="436" y="874"/>
                  </a:lnTo>
                  <a:lnTo>
                    <a:pt x="442" y="878"/>
                  </a:lnTo>
                  <a:lnTo>
                    <a:pt x="444" y="884"/>
                  </a:lnTo>
                  <a:lnTo>
                    <a:pt x="442" y="890"/>
                  </a:lnTo>
                  <a:lnTo>
                    <a:pt x="446" y="896"/>
                  </a:lnTo>
                  <a:lnTo>
                    <a:pt x="448" y="898"/>
                  </a:lnTo>
                  <a:lnTo>
                    <a:pt x="442" y="900"/>
                  </a:lnTo>
                  <a:lnTo>
                    <a:pt x="432" y="896"/>
                  </a:lnTo>
                  <a:lnTo>
                    <a:pt x="426" y="890"/>
                  </a:lnTo>
                  <a:lnTo>
                    <a:pt x="422" y="882"/>
                  </a:lnTo>
                  <a:lnTo>
                    <a:pt x="418" y="880"/>
                  </a:lnTo>
                  <a:lnTo>
                    <a:pt x="420" y="884"/>
                  </a:lnTo>
                  <a:lnTo>
                    <a:pt x="424" y="896"/>
                  </a:lnTo>
                  <a:lnTo>
                    <a:pt x="430" y="902"/>
                  </a:lnTo>
                  <a:lnTo>
                    <a:pt x="440" y="906"/>
                  </a:lnTo>
                  <a:lnTo>
                    <a:pt x="448" y="910"/>
                  </a:lnTo>
                  <a:lnTo>
                    <a:pt x="452" y="916"/>
                  </a:lnTo>
                  <a:lnTo>
                    <a:pt x="452" y="924"/>
                  </a:lnTo>
                  <a:lnTo>
                    <a:pt x="444" y="926"/>
                  </a:lnTo>
                  <a:lnTo>
                    <a:pt x="450" y="932"/>
                  </a:lnTo>
                  <a:lnTo>
                    <a:pt x="460" y="940"/>
                  </a:lnTo>
                  <a:lnTo>
                    <a:pt x="470" y="944"/>
                  </a:lnTo>
                  <a:lnTo>
                    <a:pt x="480" y="946"/>
                  </a:lnTo>
                  <a:lnTo>
                    <a:pt x="492" y="944"/>
                  </a:lnTo>
                  <a:lnTo>
                    <a:pt x="500" y="950"/>
                  </a:lnTo>
                  <a:lnTo>
                    <a:pt x="504" y="952"/>
                  </a:lnTo>
                  <a:lnTo>
                    <a:pt x="510" y="956"/>
                  </a:lnTo>
                  <a:lnTo>
                    <a:pt x="518" y="966"/>
                  </a:lnTo>
                  <a:lnTo>
                    <a:pt x="524" y="972"/>
                  </a:lnTo>
                  <a:lnTo>
                    <a:pt x="522" y="982"/>
                  </a:lnTo>
                  <a:lnTo>
                    <a:pt x="518" y="982"/>
                  </a:lnTo>
                  <a:lnTo>
                    <a:pt x="516" y="980"/>
                  </a:lnTo>
                  <a:lnTo>
                    <a:pt x="512" y="982"/>
                  </a:lnTo>
                  <a:lnTo>
                    <a:pt x="508" y="984"/>
                  </a:lnTo>
                  <a:lnTo>
                    <a:pt x="502" y="982"/>
                  </a:lnTo>
                  <a:lnTo>
                    <a:pt x="498" y="982"/>
                  </a:lnTo>
                  <a:lnTo>
                    <a:pt x="494" y="980"/>
                  </a:lnTo>
                  <a:lnTo>
                    <a:pt x="492" y="974"/>
                  </a:lnTo>
                  <a:lnTo>
                    <a:pt x="482" y="974"/>
                  </a:lnTo>
                  <a:lnTo>
                    <a:pt x="482" y="982"/>
                  </a:lnTo>
                  <a:lnTo>
                    <a:pt x="486" y="986"/>
                  </a:lnTo>
                  <a:lnTo>
                    <a:pt x="488" y="990"/>
                  </a:lnTo>
                  <a:lnTo>
                    <a:pt x="486" y="994"/>
                  </a:lnTo>
                  <a:lnTo>
                    <a:pt x="476" y="998"/>
                  </a:lnTo>
                  <a:lnTo>
                    <a:pt x="468" y="1010"/>
                  </a:lnTo>
                  <a:lnTo>
                    <a:pt x="458" y="1014"/>
                  </a:lnTo>
                  <a:lnTo>
                    <a:pt x="446" y="1016"/>
                  </a:lnTo>
                  <a:lnTo>
                    <a:pt x="444" y="1018"/>
                  </a:lnTo>
                  <a:lnTo>
                    <a:pt x="444" y="1022"/>
                  </a:lnTo>
                  <a:lnTo>
                    <a:pt x="444" y="1028"/>
                  </a:lnTo>
                  <a:lnTo>
                    <a:pt x="440" y="1036"/>
                  </a:lnTo>
                  <a:lnTo>
                    <a:pt x="426" y="1050"/>
                  </a:lnTo>
                  <a:lnTo>
                    <a:pt x="426" y="1054"/>
                  </a:lnTo>
                  <a:lnTo>
                    <a:pt x="422" y="1062"/>
                  </a:lnTo>
                  <a:lnTo>
                    <a:pt x="414" y="1068"/>
                  </a:lnTo>
                  <a:lnTo>
                    <a:pt x="412" y="1066"/>
                  </a:lnTo>
                  <a:lnTo>
                    <a:pt x="412" y="1056"/>
                  </a:lnTo>
                  <a:lnTo>
                    <a:pt x="404" y="1054"/>
                  </a:lnTo>
                  <a:lnTo>
                    <a:pt x="404" y="1046"/>
                  </a:lnTo>
                  <a:lnTo>
                    <a:pt x="394" y="1032"/>
                  </a:lnTo>
                  <a:lnTo>
                    <a:pt x="376" y="1018"/>
                  </a:lnTo>
                  <a:lnTo>
                    <a:pt x="358" y="1014"/>
                  </a:lnTo>
                  <a:lnTo>
                    <a:pt x="346" y="1010"/>
                  </a:lnTo>
                  <a:lnTo>
                    <a:pt x="328" y="1004"/>
                  </a:lnTo>
                  <a:lnTo>
                    <a:pt x="320" y="996"/>
                  </a:lnTo>
                  <a:lnTo>
                    <a:pt x="312" y="990"/>
                  </a:lnTo>
                  <a:lnTo>
                    <a:pt x="304" y="988"/>
                  </a:lnTo>
                  <a:lnTo>
                    <a:pt x="302" y="992"/>
                  </a:lnTo>
                  <a:lnTo>
                    <a:pt x="294" y="990"/>
                  </a:lnTo>
                  <a:lnTo>
                    <a:pt x="290" y="984"/>
                  </a:lnTo>
                  <a:lnTo>
                    <a:pt x="282" y="986"/>
                  </a:lnTo>
                  <a:lnTo>
                    <a:pt x="280" y="994"/>
                  </a:lnTo>
                  <a:lnTo>
                    <a:pt x="282" y="1008"/>
                  </a:lnTo>
                  <a:lnTo>
                    <a:pt x="276" y="1014"/>
                  </a:lnTo>
                  <a:lnTo>
                    <a:pt x="268" y="1018"/>
                  </a:lnTo>
                  <a:lnTo>
                    <a:pt x="266" y="1028"/>
                  </a:lnTo>
                  <a:lnTo>
                    <a:pt x="268" y="1032"/>
                  </a:lnTo>
                  <a:lnTo>
                    <a:pt x="268" y="1036"/>
                  </a:lnTo>
                  <a:lnTo>
                    <a:pt x="264" y="1040"/>
                  </a:lnTo>
                  <a:lnTo>
                    <a:pt x="258" y="1040"/>
                  </a:lnTo>
                  <a:lnTo>
                    <a:pt x="262" y="1050"/>
                  </a:lnTo>
                  <a:lnTo>
                    <a:pt x="274" y="1058"/>
                  </a:lnTo>
                  <a:lnTo>
                    <a:pt x="286" y="1066"/>
                  </a:lnTo>
                  <a:lnTo>
                    <a:pt x="298" y="1076"/>
                  </a:lnTo>
                  <a:lnTo>
                    <a:pt x="298" y="1086"/>
                  </a:lnTo>
                  <a:lnTo>
                    <a:pt x="304" y="1094"/>
                  </a:lnTo>
                  <a:lnTo>
                    <a:pt x="312" y="1096"/>
                  </a:lnTo>
                  <a:lnTo>
                    <a:pt x="320" y="1108"/>
                  </a:lnTo>
                  <a:lnTo>
                    <a:pt x="330" y="1116"/>
                  </a:lnTo>
                  <a:lnTo>
                    <a:pt x="336" y="1128"/>
                  </a:lnTo>
                  <a:lnTo>
                    <a:pt x="344" y="1134"/>
                  </a:lnTo>
                  <a:lnTo>
                    <a:pt x="346" y="1136"/>
                  </a:lnTo>
                  <a:lnTo>
                    <a:pt x="350" y="1140"/>
                  </a:lnTo>
                  <a:lnTo>
                    <a:pt x="348" y="1144"/>
                  </a:lnTo>
                  <a:lnTo>
                    <a:pt x="346" y="1148"/>
                  </a:lnTo>
                  <a:lnTo>
                    <a:pt x="346" y="1150"/>
                  </a:lnTo>
                  <a:lnTo>
                    <a:pt x="346" y="1158"/>
                  </a:lnTo>
                  <a:lnTo>
                    <a:pt x="336" y="1166"/>
                  </a:lnTo>
                  <a:lnTo>
                    <a:pt x="326" y="1168"/>
                  </a:lnTo>
                  <a:lnTo>
                    <a:pt x="320" y="1162"/>
                  </a:lnTo>
                  <a:lnTo>
                    <a:pt x="314" y="1162"/>
                  </a:lnTo>
                  <a:lnTo>
                    <a:pt x="308" y="1166"/>
                  </a:lnTo>
                  <a:lnTo>
                    <a:pt x="304" y="1160"/>
                  </a:lnTo>
                  <a:lnTo>
                    <a:pt x="294" y="1160"/>
                  </a:lnTo>
                  <a:lnTo>
                    <a:pt x="284" y="1148"/>
                  </a:lnTo>
                  <a:lnTo>
                    <a:pt x="268" y="1148"/>
                  </a:lnTo>
                  <a:lnTo>
                    <a:pt x="260" y="1154"/>
                  </a:lnTo>
                  <a:lnTo>
                    <a:pt x="244" y="1158"/>
                  </a:lnTo>
                  <a:lnTo>
                    <a:pt x="232" y="1144"/>
                  </a:lnTo>
                  <a:lnTo>
                    <a:pt x="224" y="1144"/>
                  </a:lnTo>
                  <a:lnTo>
                    <a:pt x="212" y="1134"/>
                  </a:lnTo>
                  <a:lnTo>
                    <a:pt x="214" y="1130"/>
                  </a:lnTo>
                  <a:lnTo>
                    <a:pt x="220" y="1128"/>
                  </a:lnTo>
                  <a:lnTo>
                    <a:pt x="214" y="1122"/>
                  </a:lnTo>
                  <a:lnTo>
                    <a:pt x="214" y="1116"/>
                  </a:lnTo>
                  <a:lnTo>
                    <a:pt x="212" y="1110"/>
                  </a:lnTo>
                  <a:lnTo>
                    <a:pt x="204" y="1118"/>
                  </a:lnTo>
                  <a:lnTo>
                    <a:pt x="198" y="1130"/>
                  </a:lnTo>
                  <a:lnTo>
                    <a:pt x="192" y="1136"/>
                  </a:lnTo>
                  <a:lnTo>
                    <a:pt x="176" y="1136"/>
                  </a:lnTo>
                  <a:lnTo>
                    <a:pt x="186" y="1120"/>
                  </a:lnTo>
                  <a:lnTo>
                    <a:pt x="200" y="1090"/>
                  </a:lnTo>
                  <a:lnTo>
                    <a:pt x="208" y="1082"/>
                  </a:lnTo>
                  <a:lnTo>
                    <a:pt x="212" y="1070"/>
                  </a:lnTo>
                  <a:lnTo>
                    <a:pt x="224" y="1054"/>
                  </a:lnTo>
                  <a:lnTo>
                    <a:pt x="236" y="1022"/>
                  </a:lnTo>
                  <a:lnTo>
                    <a:pt x="254" y="980"/>
                  </a:lnTo>
                  <a:lnTo>
                    <a:pt x="268" y="938"/>
                  </a:lnTo>
                  <a:lnTo>
                    <a:pt x="284" y="906"/>
                  </a:lnTo>
                  <a:lnTo>
                    <a:pt x="284" y="860"/>
                  </a:lnTo>
                  <a:lnTo>
                    <a:pt x="268" y="848"/>
                  </a:lnTo>
                  <a:lnTo>
                    <a:pt x="260" y="838"/>
                  </a:lnTo>
                  <a:lnTo>
                    <a:pt x="244" y="830"/>
                  </a:lnTo>
                  <a:lnTo>
                    <a:pt x="224" y="824"/>
                  </a:lnTo>
                  <a:lnTo>
                    <a:pt x="194" y="804"/>
                  </a:lnTo>
                  <a:lnTo>
                    <a:pt x="206" y="792"/>
                  </a:lnTo>
                  <a:lnTo>
                    <a:pt x="206" y="778"/>
                  </a:lnTo>
                  <a:lnTo>
                    <a:pt x="212" y="770"/>
                  </a:lnTo>
                  <a:lnTo>
                    <a:pt x="212" y="762"/>
                  </a:lnTo>
                  <a:lnTo>
                    <a:pt x="204" y="748"/>
                  </a:lnTo>
                  <a:lnTo>
                    <a:pt x="194" y="744"/>
                  </a:lnTo>
                  <a:lnTo>
                    <a:pt x="182" y="742"/>
                  </a:lnTo>
                  <a:lnTo>
                    <a:pt x="180" y="730"/>
                  </a:lnTo>
                  <a:lnTo>
                    <a:pt x="170" y="728"/>
                  </a:lnTo>
                  <a:lnTo>
                    <a:pt x="170" y="720"/>
                  </a:lnTo>
                  <a:lnTo>
                    <a:pt x="178" y="710"/>
                  </a:lnTo>
                  <a:lnTo>
                    <a:pt x="168" y="702"/>
                  </a:lnTo>
                  <a:lnTo>
                    <a:pt x="156" y="706"/>
                  </a:lnTo>
                  <a:lnTo>
                    <a:pt x="148" y="692"/>
                  </a:lnTo>
                  <a:lnTo>
                    <a:pt x="142" y="682"/>
                  </a:lnTo>
                  <a:lnTo>
                    <a:pt x="150" y="672"/>
                  </a:lnTo>
                  <a:lnTo>
                    <a:pt x="150" y="666"/>
                  </a:lnTo>
                  <a:lnTo>
                    <a:pt x="138" y="664"/>
                  </a:lnTo>
                  <a:lnTo>
                    <a:pt x="138" y="648"/>
                  </a:lnTo>
                  <a:lnTo>
                    <a:pt x="134" y="634"/>
                  </a:lnTo>
                  <a:lnTo>
                    <a:pt x="134" y="620"/>
                  </a:lnTo>
                  <a:lnTo>
                    <a:pt x="146" y="614"/>
                  </a:lnTo>
                  <a:lnTo>
                    <a:pt x="138" y="594"/>
                  </a:lnTo>
                  <a:lnTo>
                    <a:pt x="122" y="570"/>
                  </a:lnTo>
                  <a:lnTo>
                    <a:pt x="108" y="554"/>
                  </a:lnTo>
                  <a:lnTo>
                    <a:pt x="86" y="526"/>
                  </a:lnTo>
                  <a:lnTo>
                    <a:pt x="74" y="512"/>
                  </a:lnTo>
                  <a:lnTo>
                    <a:pt x="72" y="490"/>
                  </a:lnTo>
                  <a:lnTo>
                    <a:pt x="78" y="464"/>
                  </a:lnTo>
                  <a:lnTo>
                    <a:pt x="86" y="444"/>
                  </a:lnTo>
                  <a:lnTo>
                    <a:pt x="90" y="428"/>
                  </a:lnTo>
                  <a:lnTo>
                    <a:pt x="84" y="420"/>
                  </a:lnTo>
                  <a:lnTo>
                    <a:pt x="70" y="414"/>
                  </a:lnTo>
                  <a:lnTo>
                    <a:pt x="52" y="392"/>
                  </a:lnTo>
                  <a:lnTo>
                    <a:pt x="28" y="388"/>
                  </a:lnTo>
                  <a:lnTo>
                    <a:pt x="10" y="360"/>
                  </a:lnTo>
                  <a:lnTo>
                    <a:pt x="6" y="350"/>
                  </a:lnTo>
                  <a:lnTo>
                    <a:pt x="10" y="320"/>
                  </a:lnTo>
                  <a:lnTo>
                    <a:pt x="0" y="318"/>
                  </a:lnTo>
                  <a:lnTo>
                    <a:pt x="14" y="302"/>
                  </a:lnTo>
                  <a:lnTo>
                    <a:pt x="22" y="294"/>
                  </a:lnTo>
                  <a:lnTo>
                    <a:pt x="20" y="270"/>
                  </a:lnTo>
                  <a:lnTo>
                    <a:pt x="40" y="254"/>
                  </a:lnTo>
                  <a:lnTo>
                    <a:pt x="42" y="230"/>
                  </a:lnTo>
                  <a:lnTo>
                    <a:pt x="50" y="232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62" y="218"/>
                  </a:lnTo>
                  <a:lnTo>
                    <a:pt x="60" y="210"/>
                  </a:lnTo>
                  <a:lnTo>
                    <a:pt x="74" y="208"/>
                  </a:lnTo>
                  <a:lnTo>
                    <a:pt x="82" y="214"/>
                  </a:lnTo>
                  <a:lnTo>
                    <a:pt x="90" y="208"/>
                  </a:lnTo>
                  <a:lnTo>
                    <a:pt x="86" y="194"/>
                  </a:lnTo>
                  <a:lnTo>
                    <a:pt x="96" y="194"/>
                  </a:lnTo>
                  <a:lnTo>
                    <a:pt x="104" y="204"/>
                  </a:lnTo>
                  <a:lnTo>
                    <a:pt x="104" y="214"/>
                  </a:lnTo>
                  <a:lnTo>
                    <a:pt x="114" y="214"/>
                  </a:lnTo>
                  <a:lnTo>
                    <a:pt x="118" y="222"/>
                  </a:lnTo>
                  <a:lnTo>
                    <a:pt x="136" y="218"/>
                  </a:lnTo>
                  <a:lnTo>
                    <a:pt x="138" y="226"/>
                  </a:lnTo>
                  <a:lnTo>
                    <a:pt x="158" y="216"/>
                  </a:lnTo>
                  <a:lnTo>
                    <a:pt x="160" y="236"/>
                  </a:lnTo>
                  <a:lnTo>
                    <a:pt x="162" y="246"/>
                  </a:lnTo>
                  <a:lnTo>
                    <a:pt x="166" y="248"/>
                  </a:lnTo>
                  <a:lnTo>
                    <a:pt x="168" y="232"/>
                  </a:lnTo>
                  <a:lnTo>
                    <a:pt x="170" y="224"/>
                  </a:lnTo>
                  <a:lnTo>
                    <a:pt x="180" y="218"/>
                  </a:lnTo>
                  <a:lnTo>
                    <a:pt x="182" y="212"/>
                  </a:lnTo>
                  <a:lnTo>
                    <a:pt x="192" y="216"/>
                  </a:lnTo>
                  <a:lnTo>
                    <a:pt x="226" y="220"/>
                  </a:lnTo>
                  <a:lnTo>
                    <a:pt x="226" y="210"/>
                  </a:lnTo>
                  <a:lnTo>
                    <a:pt x="258" y="210"/>
                  </a:lnTo>
                  <a:lnTo>
                    <a:pt x="310" y="228"/>
                  </a:lnTo>
                  <a:lnTo>
                    <a:pt x="332" y="232"/>
                  </a:lnTo>
                  <a:lnTo>
                    <a:pt x="354" y="246"/>
                  </a:lnTo>
                  <a:lnTo>
                    <a:pt x="364" y="248"/>
                  </a:lnTo>
                  <a:lnTo>
                    <a:pt x="372" y="256"/>
                  </a:lnTo>
                  <a:lnTo>
                    <a:pt x="386" y="252"/>
                  </a:lnTo>
                  <a:lnTo>
                    <a:pt x="404" y="258"/>
                  </a:lnTo>
                  <a:lnTo>
                    <a:pt x="416" y="264"/>
                  </a:lnTo>
                  <a:lnTo>
                    <a:pt x="428" y="264"/>
                  </a:lnTo>
                  <a:lnTo>
                    <a:pt x="430" y="258"/>
                  </a:lnTo>
                  <a:lnTo>
                    <a:pt x="442" y="266"/>
                  </a:lnTo>
                  <a:lnTo>
                    <a:pt x="458" y="272"/>
                  </a:lnTo>
                  <a:lnTo>
                    <a:pt x="460" y="282"/>
                  </a:lnTo>
                  <a:lnTo>
                    <a:pt x="464" y="276"/>
                  </a:lnTo>
                  <a:lnTo>
                    <a:pt x="488" y="276"/>
                  </a:lnTo>
                  <a:lnTo>
                    <a:pt x="496" y="296"/>
                  </a:lnTo>
                  <a:lnTo>
                    <a:pt x="504" y="302"/>
                  </a:lnTo>
                  <a:lnTo>
                    <a:pt x="508" y="314"/>
                  </a:lnTo>
                  <a:lnTo>
                    <a:pt x="520" y="318"/>
                  </a:lnTo>
                  <a:lnTo>
                    <a:pt x="528" y="340"/>
                  </a:lnTo>
                  <a:lnTo>
                    <a:pt x="528" y="364"/>
                  </a:lnTo>
                  <a:lnTo>
                    <a:pt x="524" y="396"/>
                  </a:lnTo>
                  <a:lnTo>
                    <a:pt x="508" y="428"/>
                  </a:lnTo>
                  <a:lnTo>
                    <a:pt x="488" y="448"/>
                  </a:lnTo>
                  <a:lnTo>
                    <a:pt x="464" y="468"/>
                  </a:lnTo>
                  <a:lnTo>
                    <a:pt x="438" y="474"/>
                  </a:lnTo>
                  <a:lnTo>
                    <a:pt x="416" y="472"/>
                  </a:lnTo>
                  <a:lnTo>
                    <a:pt x="382" y="472"/>
                  </a:lnTo>
                  <a:lnTo>
                    <a:pt x="376" y="478"/>
                  </a:lnTo>
                  <a:lnTo>
                    <a:pt x="352" y="480"/>
                  </a:lnTo>
                  <a:lnTo>
                    <a:pt x="328" y="480"/>
                  </a:lnTo>
                  <a:lnTo>
                    <a:pt x="304" y="472"/>
                  </a:lnTo>
                  <a:lnTo>
                    <a:pt x="294" y="478"/>
                  </a:lnTo>
                  <a:lnTo>
                    <a:pt x="288" y="480"/>
                  </a:lnTo>
                  <a:lnTo>
                    <a:pt x="282" y="470"/>
                  </a:lnTo>
                  <a:lnTo>
                    <a:pt x="272" y="472"/>
                  </a:lnTo>
                  <a:lnTo>
                    <a:pt x="262" y="472"/>
                  </a:lnTo>
                  <a:lnTo>
                    <a:pt x="250" y="466"/>
                  </a:lnTo>
                  <a:lnTo>
                    <a:pt x="246" y="466"/>
                  </a:lnTo>
                  <a:lnTo>
                    <a:pt x="246" y="474"/>
                  </a:lnTo>
                  <a:lnTo>
                    <a:pt x="234" y="470"/>
                  </a:lnTo>
                  <a:lnTo>
                    <a:pt x="218" y="462"/>
                  </a:lnTo>
                  <a:lnTo>
                    <a:pt x="212" y="458"/>
                  </a:lnTo>
                  <a:lnTo>
                    <a:pt x="212" y="450"/>
                  </a:lnTo>
                  <a:lnTo>
                    <a:pt x="186" y="448"/>
                  </a:lnTo>
                  <a:lnTo>
                    <a:pt x="184" y="454"/>
                  </a:lnTo>
                  <a:lnTo>
                    <a:pt x="190" y="458"/>
                  </a:lnTo>
                  <a:lnTo>
                    <a:pt x="202" y="462"/>
                  </a:lnTo>
                  <a:lnTo>
                    <a:pt x="204" y="474"/>
                  </a:lnTo>
                  <a:lnTo>
                    <a:pt x="222" y="480"/>
                  </a:lnTo>
                  <a:lnTo>
                    <a:pt x="226" y="484"/>
                  </a:lnTo>
                  <a:lnTo>
                    <a:pt x="238" y="486"/>
                  </a:lnTo>
                  <a:lnTo>
                    <a:pt x="250" y="490"/>
                  </a:lnTo>
                  <a:lnTo>
                    <a:pt x="244" y="498"/>
                  </a:lnTo>
                  <a:lnTo>
                    <a:pt x="264" y="502"/>
                  </a:lnTo>
                  <a:lnTo>
                    <a:pt x="264" y="514"/>
                  </a:lnTo>
                  <a:lnTo>
                    <a:pt x="280" y="518"/>
                  </a:lnTo>
                  <a:lnTo>
                    <a:pt x="300" y="520"/>
                  </a:lnTo>
                  <a:lnTo>
                    <a:pt x="320" y="532"/>
                  </a:lnTo>
                  <a:lnTo>
                    <a:pt x="334" y="548"/>
                  </a:lnTo>
                  <a:lnTo>
                    <a:pt x="332" y="552"/>
                  </a:lnTo>
                  <a:lnTo>
                    <a:pt x="326" y="554"/>
                  </a:lnTo>
                  <a:lnTo>
                    <a:pt x="326" y="560"/>
                  </a:lnTo>
                  <a:lnTo>
                    <a:pt x="330" y="564"/>
                  </a:lnTo>
                  <a:lnTo>
                    <a:pt x="334" y="568"/>
                  </a:lnTo>
                  <a:lnTo>
                    <a:pt x="334" y="586"/>
                  </a:lnTo>
                  <a:lnTo>
                    <a:pt x="326" y="588"/>
                  </a:lnTo>
                  <a:lnTo>
                    <a:pt x="328" y="594"/>
                  </a:lnTo>
                  <a:lnTo>
                    <a:pt x="342" y="608"/>
                  </a:lnTo>
                  <a:lnTo>
                    <a:pt x="352" y="614"/>
                  </a:lnTo>
                  <a:lnTo>
                    <a:pt x="354" y="628"/>
                  </a:lnTo>
                  <a:lnTo>
                    <a:pt x="364" y="634"/>
                  </a:lnTo>
                  <a:lnTo>
                    <a:pt x="368" y="640"/>
                  </a:lnTo>
                  <a:lnTo>
                    <a:pt x="370" y="652"/>
                  </a:lnTo>
                  <a:lnTo>
                    <a:pt x="370" y="666"/>
                  </a:lnTo>
                  <a:lnTo>
                    <a:pt x="392" y="674"/>
                  </a:lnTo>
                  <a:lnTo>
                    <a:pt x="406" y="674"/>
                  </a:lnTo>
                  <a:lnTo>
                    <a:pt x="410" y="668"/>
                  </a:lnTo>
                  <a:lnTo>
                    <a:pt x="420" y="666"/>
                  </a:lnTo>
                  <a:lnTo>
                    <a:pt x="424" y="678"/>
                  </a:lnTo>
                  <a:lnTo>
                    <a:pt x="436" y="674"/>
                  </a:lnTo>
                  <a:lnTo>
                    <a:pt x="444" y="682"/>
                  </a:lnTo>
                  <a:lnTo>
                    <a:pt x="448" y="690"/>
                  </a:lnTo>
                  <a:lnTo>
                    <a:pt x="470" y="692"/>
                  </a:lnTo>
                  <a:lnTo>
                    <a:pt x="492" y="690"/>
                  </a:lnTo>
                  <a:lnTo>
                    <a:pt x="500" y="694"/>
                  </a:lnTo>
                  <a:lnTo>
                    <a:pt x="506" y="692"/>
                  </a:lnTo>
                  <a:lnTo>
                    <a:pt x="508" y="682"/>
                  </a:lnTo>
                  <a:lnTo>
                    <a:pt x="518" y="672"/>
                  </a:lnTo>
                  <a:lnTo>
                    <a:pt x="520" y="660"/>
                  </a:lnTo>
                  <a:lnTo>
                    <a:pt x="506" y="646"/>
                  </a:lnTo>
                  <a:lnTo>
                    <a:pt x="506" y="638"/>
                  </a:lnTo>
                  <a:lnTo>
                    <a:pt x="490" y="628"/>
                  </a:lnTo>
                  <a:lnTo>
                    <a:pt x="484" y="640"/>
                  </a:lnTo>
                  <a:lnTo>
                    <a:pt x="472" y="644"/>
                  </a:lnTo>
                  <a:lnTo>
                    <a:pt x="442" y="618"/>
                  </a:lnTo>
                  <a:lnTo>
                    <a:pt x="434" y="618"/>
                  </a:lnTo>
                  <a:lnTo>
                    <a:pt x="426" y="606"/>
                  </a:lnTo>
                  <a:lnTo>
                    <a:pt x="436" y="594"/>
                  </a:lnTo>
                  <a:lnTo>
                    <a:pt x="430" y="582"/>
                  </a:lnTo>
                  <a:lnTo>
                    <a:pt x="434" y="568"/>
                  </a:lnTo>
                  <a:lnTo>
                    <a:pt x="458" y="570"/>
                  </a:lnTo>
                  <a:lnTo>
                    <a:pt x="472" y="578"/>
                  </a:lnTo>
                  <a:lnTo>
                    <a:pt x="478" y="584"/>
                  </a:lnTo>
                  <a:lnTo>
                    <a:pt x="502" y="584"/>
                  </a:lnTo>
                  <a:lnTo>
                    <a:pt x="496" y="590"/>
                  </a:lnTo>
                  <a:lnTo>
                    <a:pt x="496" y="596"/>
                  </a:lnTo>
                  <a:lnTo>
                    <a:pt x="500" y="598"/>
                  </a:lnTo>
                  <a:lnTo>
                    <a:pt x="504" y="590"/>
                  </a:lnTo>
                  <a:lnTo>
                    <a:pt x="508" y="584"/>
                  </a:lnTo>
                  <a:lnTo>
                    <a:pt x="530" y="582"/>
                  </a:lnTo>
                  <a:lnTo>
                    <a:pt x="554" y="586"/>
                  </a:lnTo>
                  <a:lnTo>
                    <a:pt x="566" y="584"/>
                  </a:lnTo>
                  <a:lnTo>
                    <a:pt x="570" y="576"/>
                  </a:lnTo>
                  <a:lnTo>
                    <a:pt x="604" y="574"/>
                  </a:lnTo>
                  <a:lnTo>
                    <a:pt x="614" y="574"/>
                  </a:lnTo>
                  <a:lnTo>
                    <a:pt x="608" y="568"/>
                  </a:lnTo>
                  <a:lnTo>
                    <a:pt x="600" y="570"/>
                  </a:lnTo>
                  <a:lnTo>
                    <a:pt x="590" y="566"/>
                  </a:lnTo>
                  <a:lnTo>
                    <a:pt x="588" y="558"/>
                  </a:lnTo>
                  <a:lnTo>
                    <a:pt x="588" y="552"/>
                  </a:lnTo>
                  <a:lnTo>
                    <a:pt x="570" y="536"/>
                  </a:lnTo>
                  <a:lnTo>
                    <a:pt x="554" y="528"/>
                  </a:lnTo>
                  <a:lnTo>
                    <a:pt x="540" y="514"/>
                  </a:lnTo>
                  <a:lnTo>
                    <a:pt x="530" y="502"/>
                  </a:lnTo>
                  <a:lnTo>
                    <a:pt x="530" y="484"/>
                  </a:lnTo>
                  <a:lnTo>
                    <a:pt x="538" y="474"/>
                  </a:lnTo>
                  <a:lnTo>
                    <a:pt x="542" y="468"/>
                  </a:lnTo>
                  <a:lnTo>
                    <a:pt x="546" y="462"/>
                  </a:lnTo>
                  <a:lnTo>
                    <a:pt x="546" y="440"/>
                  </a:lnTo>
                  <a:lnTo>
                    <a:pt x="566" y="422"/>
                  </a:lnTo>
                  <a:lnTo>
                    <a:pt x="574" y="398"/>
                  </a:lnTo>
                  <a:lnTo>
                    <a:pt x="578" y="380"/>
                  </a:lnTo>
                  <a:lnTo>
                    <a:pt x="578" y="364"/>
                  </a:lnTo>
                  <a:lnTo>
                    <a:pt x="596" y="364"/>
                  </a:lnTo>
                  <a:lnTo>
                    <a:pt x="604" y="366"/>
                  </a:lnTo>
                  <a:lnTo>
                    <a:pt x="622" y="354"/>
                  </a:lnTo>
                  <a:lnTo>
                    <a:pt x="632" y="360"/>
                  </a:lnTo>
                  <a:lnTo>
                    <a:pt x="644" y="362"/>
                  </a:lnTo>
                  <a:lnTo>
                    <a:pt x="642" y="370"/>
                  </a:lnTo>
                  <a:lnTo>
                    <a:pt x="638" y="380"/>
                  </a:lnTo>
                  <a:lnTo>
                    <a:pt x="640" y="386"/>
                  </a:lnTo>
                  <a:lnTo>
                    <a:pt x="644" y="380"/>
                  </a:lnTo>
                  <a:lnTo>
                    <a:pt x="648" y="370"/>
                  </a:lnTo>
                  <a:lnTo>
                    <a:pt x="656" y="366"/>
                  </a:lnTo>
                  <a:lnTo>
                    <a:pt x="664" y="372"/>
                  </a:lnTo>
                  <a:lnTo>
                    <a:pt x="672" y="382"/>
                  </a:lnTo>
                  <a:lnTo>
                    <a:pt x="672" y="374"/>
                  </a:lnTo>
                  <a:lnTo>
                    <a:pt x="660" y="356"/>
                  </a:lnTo>
                  <a:lnTo>
                    <a:pt x="656" y="332"/>
                  </a:lnTo>
                  <a:lnTo>
                    <a:pt x="656" y="310"/>
                  </a:lnTo>
                  <a:lnTo>
                    <a:pt x="646" y="304"/>
                  </a:lnTo>
                  <a:lnTo>
                    <a:pt x="646" y="292"/>
                  </a:lnTo>
                  <a:lnTo>
                    <a:pt x="634" y="282"/>
                  </a:lnTo>
                  <a:lnTo>
                    <a:pt x="622" y="274"/>
                  </a:lnTo>
                  <a:lnTo>
                    <a:pt x="614" y="274"/>
                  </a:lnTo>
                  <a:lnTo>
                    <a:pt x="610" y="280"/>
                  </a:lnTo>
                  <a:lnTo>
                    <a:pt x="604" y="272"/>
                  </a:lnTo>
                  <a:lnTo>
                    <a:pt x="598" y="260"/>
                  </a:lnTo>
                  <a:lnTo>
                    <a:pt x="594" y="226"/>
                  </a:lnTo>
                  <a:lnTo>
                    <a:pt x="584" y="198"/>
                  </a:lnTo>
                  <a:lnTo>
                    <a:pt x="576" y="182"/>
                  </a:lnTo>
                  <a:lnTo>
                    <a:pt x="568" y="168"/>
                  </a:lnTo>
                  <a:lnTo>
                    <a:pt x="558" y="164"/>
                  </a:lnTo>
                  <a:lnTo>
                    <a:pt x="542" y="162"/>
                  </a:lnTo>
                  <a:lnTo>
                    <a:pt x="532" y="158"/>
                  </a:lnTo>
                  <a:lnTo>
                    <a:pt x="524" y="154"/>
                  </a:lnTo>
                  <a:lnTo>
                    <a:pt x="522" y="148"/>
                  </a:lnTo>
                  <a:lnTo>
                    <a:pt x="528" y="142"/>
                  </a:lnTo>
                  <a:lnTo>
                    <a:pt x="538" y="146"/>
                  </a:lnTo>
                  <a:lnTo>
                    <a:pt x="552" y="148"/>
                  </a:lnTo>
                  <a:lnTo>
                    <a:pt x="562" y="142"/>
                  </a:lnTo>
                  <a:lnTo>
                    <a:pt x="580" y="130"/>
                  </a:lnTo>
                  <a:lnTo>
                    <a:pt x="592" y="124"/>
                  </a:lnTo>
                  <a:lnTo>
                    <a:pt x="618" y="122"/>
                  </a:lnTo>
                  <a:lnTo>
                    <a:pt x="624" y="128"/>
                  </a:lnTo>
                  <a:lnTo>
                    <a:pt x="638" y="138"/>
                  </a:lnTo>
                  <a:lnTo>
                    <a:pt x="654" y="138"/>
                  </a:lnTo>
                  <a:lnTo>
                    <a:pt x="666" y="152"/>
                  </a:lnTo>
                  <a:lnTo>
                    <a:pt x="678" y="164"/>
                  </a:lnTo>
                  <a:lnTo>
                    <a:pt x="672" y="170"/>
                  </a:lnTo>
                  <a:lnTo>
                    <a:pt x="660" y="176"/>
                  </a:lnTo>
                  <a:lnTo>
                    <a:pt x="646" y="190"/>
                  </a:lnTo>
                  <a:lnTo>
                    <a:pt x="634" y="202"/>
                  </a:lnTo>
                  <a:lnTo>
                    <a:pt x="638" y="212"/>
                  </a:lnTo>
                  <a:lnTo>
                    <a:pt x="634" y="224"/>
                  </a:lnTo>
                  <a:lnTo>
                    <a:pt x="636" y="240"/>
                  </a:lnTo>
                  <a:lnTo>
                    <a:pt x="648" y="244"/>
                  </a:lnTo>
                  <a:lnTo>
                    <a:pt x="662" y="244"/>
                  </a:lnTo>
                  <a:lnTo>
                    <a:pt x="670" y="246"/>
                  </a:lnTo>
                  <a:lnTo>
                    <a:pt x="680" y="256"/>
                  </a:lnTo>
                  <a:lnTo>
                    <a:pt x="694" y="266"/>
                  </a:lnTo>
                  <a:lnTo>
                    <a:pt x="698" y="268"/>
                  </a:lnTo>
                  <a:lnTo>
                    <a:pt x="704" y="268"/>
                  </a:lnTo>
                  <a:lnTo>
                    <a:pt x="710" y="262"/>
                  </a:lnTo>
                  <a:lnTo>
                    <a:pt x="716" y="254"/>
                  </a:lnTo>
                  <a:lnTo>
                    <a:pt x="718" y="260"/>
                  </a:lnTo>
                  <a:lnTo>
                    <a:pt x="732" y="248"/>
                  </a:lnTo>
                  <a:lnTo>
                    <a:pt x="746" y="232"/>
                  </a:lnTo>
                  <a:lnTo>
                    <a:pt x="752" y="230"/>
                  </a:lnTo>
                  <a:lnTo>
                    <a:pt x="750" y="216"/>
                  </a:lnTo>
                  <a:lnTo>
                    <a:pt x="742" y="200"/>
                  </a:lnTo>
                  <a:lnTo>
                    <a:pt x="738" y="178"/>
                  </a:lnTo>
                  <a:lnTo>
                    <a:pt x="726" y="164"/>
                  </a:lnTo>
                  <a:lnTo>
                    <a:pt x="738" y="148"/>
                  </a:lnTo>
                  <a:lnTo>
                    <a:pt x="750" y="140"/>
                  </a:lnTo>
                  <a:lnTo>
                    <a:pt x="754" y="138"/>
                  </a:lnTo>
                  <a:lnTo>
                    <a:pt x="752" y="132"/>
                  </a:lnTo>
                  <a:lnTo>
                    <a:pt x="742" y="124"/>
                  </a:lnTo>
                  <a:lnTo>
                    <a:pt x="746" y="122"/>
                  </a:lnTo>
                  <a:lnTo>
                    <a:pt x="756" y="114"/>
                  </a:lnTo>
                  <a:lnTo>
                    <a:pt x="772" y="88"/>
                  </a:lnTo>
                  <a:lnTo>
                    <a:pt x="778" y="62"/>
                  </a:lnTo>
                  <a:lnTo>
                    <a:pt x="782" y="42"/>
                  </a:lnTo>
                  <a:lnTo>
                    <a:pt x="792" y="40"/>
                  </a:lnTo>
                  <a:lnTo>
                    <a:pt x="804" y="16"/>
                  </a:lnTo>
                  <a:lnTo>
                    <a:pt x="812" y="4"/>
                  </a:lnTo>
                  <a:lnTo>
                    <a:pt x="818" y="0"/>
                  </a:lnTo>
                  <a:lnTo>
                    <a:pt x="818" y="1890"/>
                  </a:lnTo>
                  <a:lnTo>
                    <a:pt x="808" y="1898"/>
                  </a:lnTo>
                  <a:lnTo>
                    <a:pt x="802" y="1898"/>
                  </a:lnTo>
                  <a:lnTo>
                    <a:pt x="798" y="1896"/>
                  </a:lnTo>
                  <a:lnTo>
                    <a:pt x="782" y="1903"/>
                  </a:lnTo>
                  <a:lnTo>
                    <a:pt x="774" y="1901"/>
                  </a:lnTo>
                  <a:lnTo>
                    <a:pt x="774" y="1890"/>
                  </a:lnTo>
                  <a:lnTo>
                    <a:pt x="768" y="1890"/>
                  </a:lnTo>
                  <a:lnTo>
                    <a:pt x="766" y="1880"/>
                  </a:lnTo>
                  <a:lnTo>
                    <a:pt x="754" y="1866"/>
                  </a:lnTo>
                  <a:lnTo>
                    <a:pt x="772" y="1854"/>
                  </a:lnTo>
                  <a:lnTo>
                    <a:pt x="756" y="1842"/>
                  </a:lnTo>
                  <a:lnTo>
                    <a:pt x="744" y="1838"/>
                  </a:lnTo>
                  <a:lnTo>
                    <a:pt x="738" y="1820"/>
                  </a:lnTo>
                  <a:lnTo>
                    <a:pt x="714" y="1808"/>
                  </a:lnTo>
                  <a:lnTo>
                    <a:pt x="702" y="1816"/>
                  </a:lnTo>
                  <a:lnTo>
                    <a:pt x="694" y="1814"/>
                  </a:lnTo>
                  <a:lnTo>
                    <a:pt x="680" y="1818"/>
                  </a:lnTo>
                  <a:lnTo>
                    <a:pt x="666" y="1836"/>
                  </a:lnTo>
                  <a:lnTo>
                    <a:pt x="636" y="1838"/>
                  </a:lnTo>
                  <a:lnTo>
                    <a:pt x="636" y="1864"/>
                  </a:lnTo>
                  <a:lnTo>
                    <a:pt x="620" y="1872"/>
                  </a:lnTo>
                  <a:lnTo>
                    <a:pt x="610" y="1868"/>
                  </a:lnTo>
                  <a:lnTo>
                    <a:pt x="594" y="1856"/>
                  </a:lnTo>
                  <a:lnTo>
                    <a:pt x="588" y="1846"/>
                  </a:lnTo>
                  <a:lnTo>
                    <a:pt x="584" y="1830"/>
                  </a:lnTo>
                  <a:lnTo>
                    <a:pt x="576" y="1824"/>
                  </a:lnTo>
                  <a:lnTo>
                    <a:pt x="576" y="1808"/>
                  </a:lnTo>
                  <a:lnTo>
                    <a:pt x="564" y="1804"/>
                  </a:lnTo>
                  <a:lnTo>
                    <a:pt x="554" y="1790"/>
                  </a:lnTo>
                  <a:lnTo>
                    <a:pt x="556" y="1772"/>
                  </a:lnTo>
                  <a:lnTo>
                    <a:pt x="560" y="1770"/>
                  </a:lnTo>
                  <a:lnTo>
                    <a:pt x="574" y="1768"/>
                  </a:lnTo>
                  <a:lnTo>
                    <a:pt x="586" y="1774"/>
                  </a:lnTo>
                  <a:lnTo>
                    <a:pt x="590" y="1774"/>
                  </a:lnTo>
                  <a:lnTo>
                    <a:pt x="602" y="1772"/>
                  </a:lnTo>
                  <a:lnTo>
                    <a:pt x="612" y="1754"/>
                  </a:lnTo>
                  <a:lnTo>
                    <a:pt x="612" y="1744"/>
                  </a:lnTo>
                  <a:lnTo>
                    <a:pt x="624" y="1740"/>
                  </a:lnTo>
                  <a:lnTo>
                    <a:pt x="626" y="1732"/>
                  </a:lnTo>
                  <a:lnTo>
                    <a:pt x="602" y="1720"/>
                  </a:lnTo>
                  <a:lnTo>
                    <a:pt x="598" y="1708"/>
                  </a:lnTo>
                  <a:lnTo>
                    <a:pt x="592" y="1704"/>
                  </a:lnTo>
                  <a:lnTo>
                    <a:pt x="578" y="1704"/>
                  </a:lnTo>
                  <a:lnTo>
                    <a:pt x="570" y="1710"/>
                  </a:lnTo>
                  <a:lnTo>
                    <a:pt x="558" y="1712"/>
                  </a:lnTo>
                  <a:lnTo>
                    <a:pt x="558" y="1698"/>
                  </a:lnTo>
                  <a:lnTo>
                    <a:pt x="556" y="1686"/>
                  </a:lnTo>
                  <a:lnTo>
                    <a:pt x="538" y="1684"/>
                  </a:lnTo>
                  <a:lnTo>
                    <a:pt x="522" y="1676"/>
                  </a:lnTo>
                  <a:lnTo>
                    <a:pt x="512" y="1662"/>
                  </a:lnTo>
                  <a:lnTo>
                    <a:pt x="500" y="1656"/>
                  </a:lnTo>
                  <a:lnTo>
                    <a:pt x="502" y="1646"/>
                  </a:lnTo>
                  <a:lnTo>
                    <a:pt x="476" y="1632"/>
                  </a:lnTo>
                  <a:lnTo>
                    <a:pt x="480" y="1604"/>
                  </a:lnTo>
                  <a:lnTo>
                    <a:pt x="464" y="1586"/>
                  </a:lnTo>
                  <a:lnTo>
                    <a:pt x="468" y="1576"/>
                  </a:lnTo>
                  <a:lnTo>
                    <a:pt x="462" y="1558"/>
                  </a:lnTo>
                  <a:lnTo>
                    <a:pt x="452" y="1562"/>
                  </a:lnTo>
                  <a:lnTo>
                    <a:pt x="442" y="1554"/>
                  </a:lnTo>
                  <a:lnTo>
                    <a:pt x="428" y="1546"/>
                  </a:lnTo>
                  <a:lnTo>
                    <a:pt x="404" y="1548"/>
                  </a:lnTo>
                  <a:lnTo>
                    <a:pt x="394" y="1558"/>
                  </a:lnTo>
                  <a:lnTo>
                    <a:pt x="384" y="1572"/>
                  </a:lnTo>
                  <a:lnTo>
                    <a:pt x="372" y="1562"/>
                  </a:lnTo>
                  <a:lnTo>
                    <a:pt x="374" y="1552"/>
                  </a:lnTo>
                  <a:lnTo>
                    <a:pt x="370" y="1546"/>
                  </a:lnTo>
                  <a:lnTo>
                    <a:pt x="352" y="1546"/>
                  </a:lnTo>
                  <a:lnTo>
                    <a:pt x="336" y="1558"/>
                  </a:lnTo>
                  <a:lnTo>
                    <a:pt x="328" y="1548"/>
                  </a:lnTo>
                  <a:lnTo>
                    <a:pt x="316" y="1548"/>
                  </a:lnTo>
                  <a:lnTo>
                    <a:pt x="314" y="1552"/>
                  </a:lnTo>
                  <a:lnTo>
                    <a:pt x="306" y="1552"/>
                  </a:lnTo>
                  <a:lnTo>
                    <a:pt x="302" y="1546"/>
                  </a:lnTo>
                  <a:lnTo>
                    <a:pt x="300" y="1530"/>
                  </a:lnTo>
                  <a:lnTo>
                    <a:pt x="284" y="1504"/>
                  </a:lnTo>
                  <a:lnTo>
                    <a:pt x="274" y="1494"/>
                  </a:lnTo>
                  <a:lnTo>
                    <a:pt x="270" y="1482"/>
                  </a:lnTo>
                  <a:lnTo>
                    <a:pt x="260" y="1482"/>
                  </a:lnTo>
                  <a:lnTo>
                    <a:pt x="260" y="1466"/>
                  </a:lnTo>
                  <a:lnTo>
                    <a:pt x="256" y="1460"/>
                  </a:lnTo>
                  <a:lnTo>
                    <a:pt x="262" y="1454"/>
                  </a:lnTo>
                  <a:lnTo>
                    <a:pt x="262" y="1446"/>
                  </a:lnTo>
                  <a:lnTo>
                    <a:pt x="252" y="1440"/>
                  </a:lnTo>
                  <a:lnTo>
                    <a:pt x="238" y="1434"/>
                  </a:lnTo>
                  <a:lnTo>
                    <a:pt x="238" y="1428"/>
                  </a:lnTo>
                  <a:lnTo>
                    <a:pt x="226" y="1426"/>
                  </a:lnTo>
                  <a:lnTo>
                    <a:pt x="226" y="1412"/>
                  </a:lnTo>
                  <a:lnTo>
                    <a:pt x="232" y="1398"/>
                  </a:lnTo>
                  <a:lnTo>
                    <a:pt x="238" y="1396"/>
                  </a:lnTo>
                  <a:lnTo>
                    <a:pt x="244" y="1390"/>
                  </a:lnTo>
                  <a:lnTo>
                    <a:pt x="232" y="1382"/>
                  </a:lnTo>
                  <a:lnTo>
                    <a:pt x="230" y="1372"/>
                  </a:lnTo>
                  <a:lnTo>
                    <a:pt x="224" y="1370"/>
                  </a:lnTo>
                  <a:lnTo>
                    <a:pt x="216" y="1360"/>
                  </a:lnTo>
                  <a:lnTo>
                    <a:pt x="216" y="1344"/>
                  </a:lnTo>
                  <a:lnTo>
                    <a:pt x="212" y="1330"/>
                  </a:lnTo>
                  <a:lnTo>
                    <a:pt x="204" y="1316"/>
                  </a:lnTo>
                  <a:lnTo>
                    <a:pt x="202" y="1304"/>
                  </a:lnTo>
                  <a:lnTo>
                    <a:pt x="206" y="1292"/>
                  </a:lnTo>
                  <a:lnTo>
                    <a:pt x="212" y="1286"/>
                  </a:lnTo>
                  <a:lnTo>
                    <a:pt x="212" y="1256"/>
                  </a:lnTo>
                  <a:lnTo>
                    <a:pt x="220" y="1250"/>
                  </a:lnTo>
                  <a:lnTo>
                    <a:pt x="224" y="1244"/>
                  </a:lnTo>
                  <a:lnTo>
                    <a:pt x="220" y="1238"/>
                  </a:lnTo>
                  <a:lnTo>
                    <a:pt x="214" y="1236"/>
                  </a:lnTo>
                  <a:close/>
                </a:path>
              </a:pathLst>
            </a:custGeom>
            <a:solidFill>
              <a:srgbClr val="606060">
                <a:lumMod val="20000"/>
                <a:lumOff val="80000"/>
              </a:srgbClr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4" name="Freeform 19"/>
            <p:cNvSpPr>
              <a:spLocks/>
            </p:cNvSpPr>
            <p:nvPr/>
          </p:nvSpPr>
          <p:spPr bwMode="gray">
            <a:xfrm>
              <a:off x="634769" y="2253727"/>
              <a:ext cx="479020" cy="367902"/>
            </a:xfrm>
            <a:custGeom>
              <a:avLst/>
              <a:gdLst>
                <a:gd name="T0" fmla="*/ 26 w 438"/>
                <a:gd name="T1" fmla="*/ 248 h 354"/>
                <a:gd name="T2" fmla="*/ 18 w 438"/>
                <a:gd name="T3" fmla="*/ 218 h 354"/>
                <a:gd name="T4" fmla="*/ 58 w 438"/>
                <a:gd name="T5" fmla="*/ 222 h 354"/>
                <a:gd name="T6" fmla="*/ 66 w 438"/>
                <a:gd name="T7" fmla="*/ 204 h 354"/>
                <a:gd name="T8" fmla="*/ 70 w 438"/>
                <a:gd name="T9" fmla="*/ 188 h 354"/>
                <a:gd name="T10" fmla="*/ 48 w 438"/>
                <a:gd name="T11" fmla="*/ 154 h 354"/>
                <a:gd name="T12" fmla="*/ 0 w 438"/>
                <a:gd name="T13" fmla="*/ 126 h 354"/>
                <a:gd name="T14" fmla="*/ 20 w 438"/>
                <a:gd name="T15" fmla="*/ 128 h 354"/>
                <a:gd name="T16" fmla="*/ 62 w 438"/>
                <a:gd name="T17" fmla="*/ 134 h 354"/>
                <a:gd name="T18" fmla="*/ 98 w 438"/>
                <a:gd name="T19" fmla="*/ 146 h 354"/>
                <a:gd name="T20" fmla="*/ 80 w 438"/>
                <a:gd name="T21" fmla="*/ 130 h 354"/>
                <a:gd name="T22" fmla="*/ 106 w 438"/>
                <a:gd name="T23" fmla="*/ 114 h 354"/>
                <a:gd name="T24" fmla="*/ 92 w 438"/>
                <a:gd name="T25" fmla="*/ 100 h 354"/>
                <a:gd name="T26" fmla="*/ 70 w 438"/>
                <a:gd name="T27" fmla="*/ 82 h 354"/>
                <a:gd name="T28" fmla="*/ 28 w 438"/>
                <a:gd name="T29" fmla="*/ 66 h 354"/>
                <a:gd name="T30" fmla="*/ 26 w 438"/>
                <a:gd name="T31" fmla="*/ 50 h 354"/>
                <a:gd name="T32" fmla="*/ 36 w 438"/>
                <a:gd name="T33" fmla="*/ 48 h 354"/>
                <a:gd name="T34" fmla="*/ 58 w 438"/>
                <a:gd name="T35" fmla="*/ 58 h 354"/>
                <a:gd name="T36" fmla="*/ 52 w 438"/>
                <a:gd name="T37" fmla="*/ 38 h 354"/>
                <a:gd name="T38" fmla="*/ 72 w 438"/>
                <a:gd name="T39" fmla="*/ 44 h 354"/>
                <a:gd name="T40" fmla="*/ 76 w 438"/>
                <a:gd name="T41" fmla="*/ 28 h 354"/>
                <a:gd name="T42" fmla="*/ 88 w 438"/>
                <a:gd name="T43" fmla="*/ 22 h 354"/>
                <a:gd name="T44" fmla="*/ 106 w 438"/>
                <a:gd name="T45" fmla="*/ 44 h 354"/>
                <a:gd name="T46" fmla="*/ 116 w 438"/>
                <a:gd name="T47" fmla="*/ 42 h 354"/>
                <a:gd name="T48" fmla="*/ 112 w 438"/>
                <a:gd name="T49" fmla="*/ 20 h 354"/>
                <a:gd name="T50" fmla="*/ 106 w 438"/>
                <a:gd name="T51" fmla="*/ 12 h 354"/>
                <a:gd name="T52" fmla="*/ 130 w 438"/>
                <a:gd name="T53" fmla="*/ 6 h 354"/>
                <a:gd name="T54" fmla="*/ 140 w 438"/>
                <a:gd name="T55" fmla="*/ 40 h 354"/>
                <a:gd name="T56" fmla="*/ 158 w 438"/>
                <a:gd name="T57" fmla="*/ 70 h 354"/>
                <a:gd name="T58" fmla="*/ 134 w 438"/>
                <a:gd name="T59" fmla="*/ 96 h 354"/>
                <a:gd name="T60" fmla="*/ 136 w 438"/>
                <a:gd name="T61" fmla="*/ 128 h 354"/>
                <a:gd name="T62" fmla="*/ 164 w 438"/>
                <a:gd name="T63" fmla="*/ 108 h 354"/>
                <a:gd name="T64" fmla="*/ 172 w 438"/>
                <a:gd name="T65" fmla="*/ 124 h 354"/>
                <a:gd name="T66" fmla="*/ 188 w 438"/>
                <a:gd name="T67" fmla="*/ 80 h 354"/>
                <a:gd name="T68" fmla="*/ 206 w 438"/>
                <a:gd name="T69" fmla="*/ 92 h 354"/>
                <a:gd name="T70" fmla="*/ 222 w 438"/>
                <a:gd name="T71" fmla="*/ 120 h 354"/>
                <a:gd name="T72" fmla="*/ 240 w 438"/>
                <a:gd name="T73" fmla="*/ 94 h 354"/>
                <a:gd name="T74" fmla="*/ 264 w 438"/>
                <a:gd name="T75" fmla="*/ 102 h 354"/>
                <a:gd name="T76" fmla="*/ 274 w 438"/>
                <a:gd name="T77" fmla="*/ 132 h 354"/>
                <a:gd name="T78" fmla="*/ 288 w 438"/>
                <a:gd name="T79" fmla="*/ 106 h 354"/>
                <a:gd name="T80" fmla="*/ 310 w 438"/>
                <a:gd name="T81" fmla="*/ 126 h 354"/>
                <a:gd name="T82" fmla="*/ 346 w 438"/>
                <a:gd name="T83" fmla="*/ 130 h 354"/>
                <a:gd name="T84" fmla="*/ 372 w 438"/>
                <a:gd name="T85" fmla="*/ 96 h 354"/>
                <a:gd name="T86" fmla="*/ 382 w 438"/>
                <a:gd name="T87" fmla="*/ 140 h 354"/>
                <a:gd name="T88" fmla="*/ 424 w 438"/>
                <a:gd name="T89" fmla="*/ 132 h 354"/>
                <a:gd name="T90" fmla="*/ 398 w 438"/>
                <a:gd name="T91" fmla="*/ 154 h 354"/>
                <a:gd name="T92" fmla="*/ 410 w 438"/>
                <a:gd name="T93" fmla="*/ 180 h 354"/>
                <a:gd name="T94" fmla="*/ 416 w 438"/>
                <a:gd name="T95" fmla="*/ 198 h 354"/>
                <a:gd name="T96" fmla="*/ 432 w 438"/>
                <a:gd name="T97" fmla="*/ 224 h 354"/>
                <a:gd name="T98" fmla="*/ 428 w 438"/>
                <a:gd name="T99" fmla="*/ 254 h 354"/>
                <a:gd name="T100" fmla="*/ 418 w 438"/>
                <a:gd name="T101" fmla="*/ 280 h 354"/>
                <a:gd name="T102" fmla="*/ 408 w 438"/>
                <a:gd name="T103" fmla="*/ 292 h 354"/>
                <a:gd name="T104" fmla="*/ 374 w 438"/>
                <a:gd name="T105" fmla="*/ 306 h 354"/>
                <a:gd name="T106" fmla="*/ 340 w 438"/>
                <a:gd name="T107" fmla="*/ 328 h 354"/>
                <a:gd name="T108" fmla="*/ 302 w 438"/>
                <a:gd name="T109" fmla="*/ 324 h 354"/>
                <a:gd name="T110" fmla="*/ 264 w 438"/>
                <a:gd name="T111" fmla="*/ 340 h 354"/>
                <a:gd name="T112" fmla="*/ 234 w 438"/>
                <a:gd name="T113" fmla="*/ 340 h 354"/>
                <a:gd name="T114" fmla="*/ 198 w 438"/>
                <a:gd name="T115" fmla="*/ 346 h 354"/>
                <a:gd name="T116" fmla="*/ 128 w 438"/>
                <a:gd name="T117" fmla="*/ 332 h 354"/>
                <a:gd name="T118" fmla="*/ 90 w 438"/>
                <a:gd name="T119" fmla="*/ 290 h 354"/>
                <a:gd name="T120" fmla="*/ 72 w 438"/>
                <a:gd name="T121" fmla="*/ 27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8" h="354">
                  <a:moveTo>
                    <a:pt x="70" y="264"/>
                  </a:moveTo>
                  <a:lnTo>
                    <a:pt x="56" y="264"/>
                  </a:lnTo>
                  <a:lnTo>
                    <a:pt x="50" y="256"/>
                  </a:lnTo>
                  <a:lnTo>
                    <a:pt x="38" y="254"/>
                  </a:lnTo>
                  <a:lnTo>
                    <a:pt x="26" y="248"/>
                  </a:lnTo>
                  <a:lnTo>
                    <a:pt x="14" y="246"/>
                  </a:lnTo>
                  <a:lnTo>
                    <a:pt x="10" y="240"/>
                  </a:lnTo>
                  <a:lnTo>
                    <a:pt x="10" y="236"/>
                  </a:lnTo>
                  <a:lnTo>
                    <a:pt x="12" y="228"/>
                  </a:lnTo>
                  <a:lnTo>
                    <a:pt x="18" y="218"/>
                  </a:lnTo>
                  <a:lnTo>
                    <a:pt x="22" y="226"/>
                  </a:lnTo>
                  <a:lnTo>
                    <a:pt x="30" y="232"/>
                  </a:lnTo>
                  <a:lnTo>
                    <a:pt x="46" y="234"/>
                  </a:lnTo>
                  <a:lnTo>
                    <a:pt x="58" y="234"/>
                  </a:lnTo>
                  <a:lnTo>
                    <a:pt x="58" y="222"/>
                  </a:lnTo>
                  <a:lnTo>
                    <a:pt x="54" y="216"/>
                  </a:lnTo>
                  <a:lnTo>
                    <a:pt x="56" y="210"/>
                  </a:lnTo>
                  <a:lnTo>
                    <a:pt x="66" y="212"/>
                  </a:lnTo>
                  <a:lnTo>
                    <a:pt x="74" y="210"/>
                  </a:lnTo>
                  <a:lnTo>
                    <a:pt x="66" y="204"/>
                  </a:lnTo>
                  <a:lnTo>
                    <a:pt x="58" y="200"/>
                  </a:lnTo>
                  <a:lnTo>
                    <a:pt x="56" y="196"/>
                  </a:lnTo>
                  <a:lnTo>
                    <a:pt x="64" y="192"/>
                  </a:lnTo>
                  <a:lnTo>
                    <a:pt x="76" y="190"/>
                  </a:lnTo>
                  <a:lnTo>
                    <a:pt x="70" y="188"/>
                  </a:lnTo>
                  <a:lnTo>
                    <a:pt x="54" y="186"/>
                  </a:lnTo>
                  <a:lnTo>
                    <a:pt x="54" y="172"/>
                  </a:lnTo>
                  <a:lnTo>
                    <a:pt x="62" y="168"/>
                  </a:lnTo>
                  <a:lnTo>
                    <a:pt x="62" y="162"/>
                  </a:lnTo>
                  <a:lnTo>
                    <a:pt x="48" y="154"/>
                  </a:lnTo>
                  <a:lnTo>
                    <a:pt x="38" y="146"/>
                  </a:lnTo>
                  <a:lnTo>
                    <a:pt x="26" y="140"/>
                  </a:lnTo>
                  <a:lnTo>
                    <a:pt x="12" y="140"/>
                  </a:lnTo>
                  <a:lnTo>
                    <a:pt x="0" y="136"/>
                  </a:lnTo>
                  <a:lnTo>
                    <a:pt x="0" y="126"/>
                  </a:lnTo>
                  <a:lnTo>
                    <a:pt x="2" y="122"/>
                  </a:lnTo>
                  <a:lnTo>
                    <a:pt x="6" y="118"/>
                  </a:lnTo>
                  <a:lnTo>
                    <a:pt x="10" y="122"/>
                  </a:lnTo>
                  <a:lnTo>
                    <a:pt x="14" y="124"/>
                  </a:lnTo>
                  <a:lnTo>
                    <a:pt x="20" y="128"/>
                  </a:lnTo>
                  <a:lnTo>
                    <a:pt x="32" y="128"/>
                  </a:lnTo>
                  <a:lnTo>
                    <a:pt x="42" y="132"/>
                  </a:lnTo>
                  <a:lnTo>
                    <a:pt x="54" y="130"/>
                  </a:lnTo>
                  <a:lnTo>
                    <a:pt x="60" y="130"/>
                  </a:lnTo>
                  <a:lnTo>
                    <a:pt x="62" y="134"/>
                  </a:lnTo>
                  <a:lnTo>
                    <a:pt x="76" y="136"/>
                  </a:lnTo>
                  <a:lnTo>
                    <a:pt x="84" y="146"/>
                  </a:lnTo>
                  <a:lnTo>
                    <a:pt x="88" y="148"/>
                  </a:lnTo>
                  <a:lnTo>
                    <a:pt x="94" y="148"/>
                  </a:lnTo>
                  <a:lnTo>
                    <a:pt x="98" y="146"/>
                  </a:lnTo>
                  <a:lnTo>
                    <a:pt x="100" y="142"/>
                  </a:lnTo>
                  <a:lnTo>
                    <a:pt x="104" y="136"/>
                  </a:lnTo>
                  <a:lnTo>
                    <a:pt x="96" y="136"/>
                  </a:lnTo>
                  <a:lnTo>
                    <a:pt x="86" y="138"/>
                  </a:lnTo>
                  <a:lnTo>
                    <a:pt x="80" y="130"/>
                  </a:lnTo>
                  <a:lnTo>
                    <a:pt x="72" y="124"/>
                  </a:lnTo>
                  <a:lnTo>
                    <a:pt x="78" y="118"/>
                  </a:lnTo>
                  <a:lnTo>
                    <a:pt x="86" y="116"/>
                  </a:lnTo>
                  <a:lnTo>
                    <a:pt x="96" y="116"/>
                  </a:lnTo>
                  <a:lnTo>
                    <a:pt x="106" y="114"/>
                  </a:lnTo>
                  <a:lnTo>
                    <a:pt x="110" y="106"/>
                  </a:lnTo>
                  <a:lnTo>
                    <a:pt x="106" y="102"/>
                  </a:lnTo>
                  <a:lnTo>
                    <a:pt x="100" y="106"/>
                  </a:lnTo>
                  <a:lnTo>
                    <a:pt x="94" y="104"/>
                  </a:lnTo>
                  <a:lnTo>
                    <a:pt x="92" y="100"/>
                  </a:lnTo>
                  <a:lnTo>
                    <a:pt x="96" y="94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82" y="82"/>
                  </a:lnTo>
                  <a:lnTo>
                    <a:pt x="70" y="82"/>
                  </a:lnTo>
                  <a:lnTo>
                    <a:pt x="58" y="80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30" y="72"/>
                  </a:lnTo>
                  <a:lnTo>
                    <a:pt x="28" y="66"/>
                  </a:lnTo>
                  <a:lnTo>
                    <a:pt x="26" y="66"/>
                  </a:lnTo>
                  <a:lnTo>
                    <a:pt x="16" y="64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6" y="50"/>
                  </a:lnTo>
                  <a:lnTo>
                    <a:pt x="32" y="56"/>
                  </a:lnTo>
                  <a:lnTo>
                    <a:pt x="36" y="62"/>
                  </a:lnTo>
                  <a:lnTo>
                    <a:pt x="40" y="60"/>
                  </a:lnTo>
                  <a:lnTo>
                    <a:pt x="40" y="54"/>
                  </a:lnTo>
                  <a:lnTo>
                    <a:pt x="36" y="48"/>
                  </a:lnTo>
                  <a:lnTo>
                    <a:pt x="38" y="40"/>
                  </a:lnTo>
                  <a:lnTo>
                    <a:pt x="44" y="40"/>
                  </a:lnTo>
                  <a:lnTo>
                    <a:pt x="48" y="46"/>
                  </a:lnTo>
                  <a:lnTo>
                    <a:pt x="52" y="52"/>
                  </a:lnTo>
                  <a:lnTo>
                    <a:pt x="58" y="58"/>
                  </a:lnTo>
                  <a:lnTo>
                    <a:pt x="62" y="58"/>
                  </a:lnTo>
                  <a:lnTo>
                    <a:pt x="64" y="54"/>
                  </a:lnTo>
                  <a:lnTo>
                    <a:pt x="60" y="50"/>
                  </a:lnTo>
                  <a:lnTo>
                    <a:pt x="54" y="44"/>
                  </a:lnTo>
                  <a:lnTo>
                    <a:pt x="52" y="38"/>
                  </a:lnTo>
                  <a:lnTo>
                    <a:pt x="54" y="34"/>
                  </a:lnTo>
                  <a:lnTo>
                    <a:pt x="60" y="36"/>
                  </a:lnTo>
                  <a:lnTo>
                    <a:pt x="64" y="42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64" y="32"/>
                  </a:lnTo>
                  <a:lnTo>
                    <a:pt x="62" y="2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80" y="16"/>
                  </a:lnTo>
                  <a:lnTo>
                    <a:pt x="84" y="14"/>
                  </a:lnTo>
                  <a:lnTo>
                    <a:pt x="88" y="22"/>
                  </a:lnTo>
                  <a:lnTo>
                    <a:pt x="92" y="30"/>
                  </a:lnTo>
                  <a:lnTo>
                    <a:pt x="94" y="32"/>
                  </a:lnTo>
                  <a:lnTo>
                    <a:pt x="96" y="42"/>
                  </a:lnTo>
                  <a:lnTo>
                    <a:pt x="102" y="40"/>
                  </a:lnTo>
                  <a:lnTo>
                    <a:pt x="106" y="44"/>
                  </a:lnTo>
                  <a:lnTo>
                    <a:pt x="106" y="50"/>
                  </a:lnTo>
                  <a:lnTo>
                    <a:pt x="104" y="56"/>
                  </a:lnTo>
                  <a:lnTo>
                    <a:pt x="112" y="60"/>
                  </a:lnTo>
                  <a:lnTo>
                    <a:pt x="116" y="50"/>
                  </a:lnTo>
                  <a:lnTo>
                    <a:pt x="116" y="42"/>
                  </a:lnTo>
                  <a:lnTo>
                    <a:pt x="112" y="36"/>
                  </a:lnTo>
                  <a:lnTo>
                    <a:pt x="106" y="30"/>
                  </a:lnTo>
                  <a:lnTo>
                    <a:pt x="102" y="24"/>
                  </a:lnTo>
                  <a:lnTo>
                    <a:pt x="106" y="18"/>
                  </a:lnTo>
                  <a:lnTo>
                    <a:pt x="112" y="20"/>
                  </a:lnTo>
                  <a:lnTo>
                    <a:pt x="118" y="24"/>
                  </a:lnTo>
                  <a:lnTo>
                    <a:pt x="122" y="18"/>
                  </a:lnTo>
                  <a:lnTo>
                    <a:pt x="118" y="14"/>
                  </a:lnTo>
                  <a:lnTo>
                    <a:pt x="114" y="12"/>
                  </a:lnTo>
                  <a:lnTo>
                    <a:pt x="106" y="12"/>
                  </a:lnTo>
                  <a:lnTo>
                    <a:pt x="102" y="8"/>
                  </a:lnTo>
                  <a:lnTo>
                    <a:pt x="110" y="2"/>
                  </a:lnTo>
                  <a:lnTo>
                    <a:pt x="116" y="0"/>
                  </a:lnTo>
                  <a:lnTo>
                    <a:pt x="122" y="4"/>
                  </a:lnTo>
                  <a:lnTo>
                    <a:pt x="130" y="6"/>
                  </a:lnTo>
                  <a:lnTo>
                    <a:pt x="134" y="14"/>
                  </a:lnTo>
                  <a:lnTo>
                    <a:pt x="136" y="20"/>
                  </a:lnTo>
                  <a:lnTo>
                    <a:pt x="136" y="26"/>
                  </a:lnTo>
                  <a:lnTo>
                    <a:pt x="140" y="34"/>
                  </a:lnTo>
                  <a:lnTo>
                    <a:pt x="140" y="40"/>
                  </a:lnTo>
                  <a:lnTo>
                    <a:pt x="146" y="46"/>
                  </a:lnTo>
                  <a:lnTo>
                    <a:pt x="146" y="52"/>
                  </a:lnTo>
                  <a:lnTo>
                    <a:pt x="150" y="58"/>
                  </a:lnTo>
                  <a:lnTo>
                    <a:pt x="152" y="64"/>
                  </a:lnTo>
                  <a:lnTo>
                    <a:pt x="158" y="70"/>
                  </a:lnTo>
                  <a:lnTo>
                    <a:pt x="152" y="76"/>
                  </a:lnTo>
                  <a:lnTo>
                    <a:pt x="148" y="82"/>
                  </a:lnTo>
                  <a:lnTo>
                    <a:pt x="144" y="90"/>
                  </a:lnTo>
                  <a:lnTo>
                    <a:pt x="142" y="96"/>
                  </a:lnTo>
                  <a:lnTo>
                    <a:pt x="134" y="96"/>
                  </a:lnTo>
                  <a:lnTo>
                    <a:pt x="128" y="96"/>
                  </a:lnTo>
                  <a:lnTo>
                    <a:pt x="134" y="106"/>
                  </a:lnTo>
                  <a:lnTo>
                    <a:pt x="136" y="112"/>
                  </a:lnTo>
                  <a:lnTo>
                    <a:pt x="134" y="118"/>
                  </a:lnTo>
                  <a:lnTo>
                    <a:pt x="136" y="128"/>
                  </a:lnTo>
                  <a:lnTo>
                    <a:pt x="136" y="136"/>
                  </a:lnTo>
                  <a:lnTo>
                    <a:pt x="144" y="128"/>
                  </a:lnTo>
                  <a:lnTo>
                    <a:pt x="150" y="120"/>
                  </a:lnTo>
                  <a:lnTo>
                    <a:pt x="154" y="114"/>
                  </a:lnTo>
                  <a:lnTo>
                    <a:pt x="164" y="108"/>
                  </a:lnTo>
                  <a:lnTo>
                    <a:pt x="166" y="112"/>
                  </a:lnTo>
                  <a:lnTo>
                    <a:pt x="162" y="116"/>
                  </a:lnTo>
                  <a:lnTo>
                    <a:pt x="162" y="124"/>
                  </a:lnTo>
                  <a:lnTo>
                    <a:pt x="166" y="130"/>
                  </a:lnTo>
                  <a:lnTo>
                    <a:pt x="172" y="124"/>
                  </a:lnTo>
                  <a:lnTo>
                    <a:pt x="178" y="120"/>
                  </a:lnTo>
                  <a:lnTo>
                    <a:pt x="184" y="108"/>
                  </a:lnTo>
                  <a:lnTo>
                    <a:pt x="186" y="100"/>
                  </a:lnTo>
                  <a:lnTo>
                    <a:pt x="188" y="90"/>
                  </a:lnTo>
                  <a:lnTo>
                    <a:pt x="188" y="80"/>
                  </a:lnTo>
                  <a:lnTo>
                    <a:pt x="192" y="76"/>
                  </a:lnTo>
                  <a:lnTo>
                    <a:pt x="200" y="74"/>
                  </a:lnTo>
                  <a:lnTo>
                    <a:pt x="206" y="78"/>
                  </a:lnTo>
                  <a:lnTo>
                    <a:pt x="208" y="84"/>
                  </a:lnTo>
                  <a:lnTo>
                    <a:pt x="206" y="92"/>
                  </a:lnTo>
                  <a:lnTo>
                    <a:pt x="208" y="100"/>
                  </a:lnTo>
                  <a:lnTo>
                    <a:pt x="210" y="106"/>
                  </a:lnTo>
                  <a:lnTo>
                    <a:pt x="210" y="116"/>
                  </a:lnTo>
                  <a:lnTo>
                    <a:pt x="212" y="122"/>
                  </a:lnTo>
                  <a:lnTo>
                    <a:pt x="222" y="120"/>
                  </a:lnTo>
                  <a:lnTo>
                    <a:pt x="224" y="112"/>
                  </a:lnTo>
                  <a:lnTo>
                    <a:pt x="224" y="102"/>
                  </a:lnTo>
                  <a:lnTo>
                    <a:pt x="228" y="96"/>
                  </a:lnTo>
                  <a:lnTo>
                    <a:pt x="234" y="92"/>
                  </a:lnTo>
                  <a:lnTo>
                    <a:pt x="240" y="94"/>
                  </a:lnTo>
                  <a:lnTo>
                    <a:pt x="246" y="94"/>
                  </a:lnTo>
                  <a:lnTo>
                    <a:pt x="250" y="90"/>
                  </a:lnTo>
                  <a:lnTo>
                    <a:pt x="258" y="90"/>
                  </a:lnTo>
                  <a:lnTo>
                    <a:pt x="262" y="96"/>
                  </a:lnTo>
                  <a:lnTo>
                    <a:pt x="264" y="102"/>
                  </a:lnTo>
                  <a:lnTo>
                    <a:pt x="264" y="114"/>
                  </a:lnTo>
                  <a:lnTo>
                    <a:pt x="264" y="120"/>
                  </a:lnTo>
                  <a:lnTo>
                    <a:pt x="268" y="128"/>
                  </a:lnTo>
                  <a:lnTo>
                    <a:pt x="268" y="136"/>
                  </a:lnTo>
                  <a:lnTo>
                    <a:pt x="274" y="132"/>
                  </a:lnTo>
                  <a:lnTo>
                    <a:pt x="274" y="120"/>
                  </a:lnTo>
                  <a:lnTo>
                    <a:pt x="272" y="110"/>
                  </a:lnTo>
                  <a:lnTo>
                    <a:pt x="274" y="104"/>
                  </a:lnTo>
                  <a:lnTo>
                    <a:pt x="282" y="102"/>
                  </a:lnTo>
                  <a:lnTo>
                    <a:pt x="288" y="106"/>
                  </a:lnTo>
                  <a:lnTo>
                    <a:pt x="292" y="114"/>
                  </a:lnTo>
                  <a:lnTo>
                    <a:pt x="298" y="122"/>
                  </a:lnTo>
                  <a:lnTo>
                    <a:pt x="296" y="130"/>
                  </a:lnTo>
                  <a:lnTo>
                    <a:pt x="302" y="132"/>
                  </a:lnTo>
                  <a:lnTo>
                    <a:pt x="310" y="126"/>
                  </a:lnTo>
                  <a:lnTo>
                    <a:pt x="316" y="118"/>
                  </a:lnTo>
                  <a:lnTo>
                    <a:pt x="322" y="114"/>
                  </a:lnTo>
                  <a:lnTo>
                    <a:pt x="328" y="120"/>
                  </a:lnTo>
                  <a:lnTo>
                    <a:pt x="332" y="130"/>
                  </a:lnTo>
                  <a:lnTo>
                    <a:pt x="346" y="130"/>
                  </a:lnTo>
                  <a:lnTo>
                    <a:pt x="352" y="122"/>
                  </a:lnTo>
                  <a:lnTo>
                    <a:pt x="354" y="110"/>
                  </a:lnTo>
                  <a:lnTo>
                    <a:pt x="354" y="100"/>
                  </a:lnTo>
                  <a:lnTo>
                    <a:pt x="362" y="96"/>
                  </a:lnTo>
                  <a:lnTo>
                    <a:pt x="372" y="96"/>
                  </a:lnTo>
                  <a:lnTo>
                    <a:pt x="378" y="102"/>
                  </a:lnTo>
                  <a:lnTo>
                    <a:pt x="380" y="114"/>
                  </a:lnTo>
                  <a:lnTo>
                    <a:pt x="382" y="120"/>
                  </a:lnTo>
                  <a:lnTo>
                    <a:pt x="382" y="130"/>
                  </a:lnTo>
                  <a:lnTo>
                    <a:pt x="382" y="140"/>
                  </a:lnTo>
                  <a:lnTo>
                    <a:pt x="390" y="146"/>
                  </a:lnTo>
                  <a:lnTo>
                    <a:pt x="396" y="138"/>
                  </a:lnTo>
                  <a:lnTo>
                    <a:pt x="408" y="136"/>
                  </a:lnTo>
                  <a:lnTo>
                    <a:pt x="416" y="130"/>
                  </a:lnTo>
                  <a:lnTo>
                    <a:pt x="424" y="132"/>
                  </a:lnTo>
                  <a:lnTo>
                    <a:pt x="426" y="136"/>
                  </a:lnTo>
                  <a:lnTo>
                    <a:pt x="418" y="138"/>
                  </a:lnTo>
                  <a:lnTo>
                    <a:pt x="410" y="140"/>
                  </a:lnTo>
                  <a:lnTo>
                    <a:pt x="404" y="148"/>
                  </a:lnTo>
                  <a:lnTo>
                    <a:pt x="398" y="154"/>
                  </a:lnTo>
                  <a:lnTo>
                    <a:pt x="398" y="160"/>
                  </a:lnTo>
                  <a:lnTo>
                    <a:pt x="408" y="164"/>
                  </a:lnTo>
                  <a:lnTo>
                    <a:pt x="414" y="168"/>
                  </a:lnTo>
                  <a:lnTo>
                    <a:pt x="414" y="176"/>
                  </a:lnTo>
                  <a:lnTo>
                    <a:pt x="410" y="180"/>
                  </a:lnTo>
                  <a:lnTo>
                    <a:pt x="398" y="184"/>
                  </a:lnTo>
                  <a:lnTo>
                    <a:pt x="398" y="190"/>
                  </a:lnTo>
                  <a:lnTo>
                    <a:pt x="404" y="194"/>
                  </a:lnTo>
                  <a:lnTo>
                    <a:pt x="416" y="194"/>
                  </a:lnTo>
                  <a:lnTo>
                    <a:pt x="416" y="198"/>
                  </a:lnTo>
                  <a:lnTo>
                    <a:pt x="414" y="204"/>
                  </a:lnTo>
                  <a:lnTo>
                    <a:pt x="416" y="208"/>
                  </a:lnTo>
                  <a:lnTo>
                    <a:pt x="420" y="212"/>
                  </a:lnTo>
                  <a:lnTo>
                    <a:pt x="426" y="218"/>
                  </a:lnTo>
                  <a:lnTo>
                    <a:pt x="432" y="224"/>
                  </a:lnTo>
                  <a:lnTo>
                    <a:pt x="438" y="230"/>
                  </a:lnTo>
                  <a:lnTo>
                    <a:pt x="434" y="236"/>
                  </a:lnTo>
                  <a:lnTo>
                    <a:pt x="430" y="244"/>
                  </a:lnTo>
                  <a:lnTo>
                    <a:pt x="426" y="246"/>
                  </a:lnTo>
                  <a:lnTo>
                    <a:pt x="428" y="254"/>
                  </a:lnTo>
                  <a:lnTo>
                    <a:pt x="430" y="258"/>
                  </a:lnTo>
                  <a:lnTo>
                    <a:pt x="422" y="260"/>
                  </a:lnTo>
                  <a:lnTo>
                    <a:pt x="424" y="268"/>
                  </a:lnTo>
                  <a:lnTo>
                    <a:pt x="426" y="274"/>
                  </a:lnTo>
                  <a:lnTo>
                    <a:pt x="418" y="280"/>
                  </a:lnTo>
                  <a:lnTo>
                    <a:pt x="412" y="274"/>
                  </a:lnTo>
                  <a:lnTo>
                    <a:pt x="408" y="272"/>
                  </a:lnTo>
                  <a:lnTo>
                    <a:pt x="408" y="276"/>
                  </a:lnTo>
                  <a:lnTo>
                    <a:pt x="410" y="284"/>
                  </a:lnTo>
                  <a:lnTo>
                    <a:pt x="408" y="292"/>
                  </a:lnTo>
                  <a:lnTo>
                    <a:pt x="398" y="298"/>
                  </a:lnTo>
                  <a:lnTo>
                    <a:pt x="388" y="298"/>
                  </a:lnTo>
                  <a:lnTo>
                    <a:pt x="382" y="292"/>
                  </a:lnTo>
                  <a:lnTo>
                    <a:pt x="376" y="298"/>
                  </a:lnTo>
                  <a:lnTo>
                    <a:pt x="374" y="306"/>
                  </a:lnTo>
                  <a:lnTo>
                    <a:pt x="366" y="316"/>
                  </a:lnTo>
                  <a:lnTo>
                    <a:pt x="362" y="322"/>
                  </a:lnTo>
                  <a:lnTo>
                    <a:pt x="354" y="322"/>
                  </a:lnTo>
                  <a:lnTo>
                    <a:pt x="346" y="322"/>
                  </a:lnTo>
                  <a:lnTo>
                    <a:pt x="340" y="328"/>
                  </a:lnTo>
                  <a:lnTo>
                    <a:pt x="332" y="322"/>
                  </a:lnTo>
                  <a:lnTo>
                    <a:pt x="328" y="316"/>
                  </a:lnTo>
                  <a:lnTo>
                    <a:pt x="324" y="322"/>
                  </a:lnTo>
                  <a:lnTo>
                    <a:pt x="308" y="324"/>
                  </a:lnTo>
                  <a:lnTo>
                    <a:pt x="302" y="324"/>
                  </a:lnTo>
                  <a:lnTo>
                    <a:pt x="296" y="324"/>
                  </a:lnTo>
                  <a:lnTo>
                    <a:pt x="288" y="330"/>
                  </a:lnTo>
                  <a:lnTo>
                    <a:pt x="276" y="334"/>
                  </a:lnTo>
                  <a:lnTo>
                    <a:pt x="266" y="338"/>
                  </a:lnTo>
                  <a:lnTo>
                    <a:pt x="264" y="340"/>
                  </a:lnTo>
                  <a:lnTo>
                    <a:pt x="262" y="342"/>
                  </a:lnTo>
                  <a:lnTo>
                    <a:pt x="258" y="342"/>
                  </a:lnTo>
                  <a:lnTo>
                    <a:pt x="244" y="342"/>
                  </a:lnTo>
                  <a:lnTo>
                    <a:pt x="238" y="338"/>
                  </a:lnTo>
                  <a:lnTo>
                    <a:pt x="234" y="340"/>
                  </a:lnTo>
                  <a:lnTo>
                    <a:pt x="222" y="338"/>
                  </a:lnTo>
                  <a:lnTo>
                    <a:pt x="210" y="336"/>
                  </a:lnTo>
                  <a:lnTo>
                    <a:pt x="204" y="334"/>
                  </a:lnTo>
                  <a:lnTo>
                    <a:pt x="200" y="338"/>
                  </a:lnTo>
                  <a:lnTo>
                    <a:pt x="198" y="346"/>
                  </a:lnTo>
                  <a:lnTo>
                    <a:pt x="194" y="352"/>
                  </a:lnTo>
                  <a:lnTo>
                    <a:pt x="178" y="352"/>
                  </a:lnTo>
                  <a:lnTo>
                    <a:pt x="154" y="354"/>
                  </a:lnTo>
                  <a:lnTo>
                    <a:pt x="138" y="344"/>
                  </a:lnTo>
                  <a:lnTo>
                    <a:pt x="128" y="332"/>
                  </a:lnTo>
                  <a:lnTo>
                    <a:pt x="120" y="322"/>
                  </a:lnTo>
                  <a:lnTo>
                    <a:pt x="116" y="318"/>
                  </a:lnTo>
                  <a:lnTo>
                    <a:pt x="98" y="312"/>
                  </a:lnTo>
                  <a:lnTo>
                    <a:pt x="94" y="302"/>
                  </a:lnTo>
                  <a:lnTo>
                    <a:pt x="90" y="290"/>
                  </a:lnTo>
                  <a:lnTo>
                    <a:pt x="94" y="286"/>
                  </a:lnTo>
                  <a:lnTo>
                    <a:pt x="88" y="282"/>
                  </a:lnTo>
                  <a:lnTo>
                    <a:pt x="88" y="278"/>
                  </a:lnTo>
                  <a:lnTo>
                    <a:pt x="78" y="276"/>
                  </a:lnTo>
                  <a:lnTo>
                    <a:pt x="72" y="270"/>
                  </a:lnTo>
                  <a:lnTo>
                    <a:pt x="70" y="26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5" name="Freeform 20"/>
            <p:cNvSpPr>
              <a:spLocks/>
            </p:cNvSpPr>
            <p:nvPr/>
          </p:nvSpPr>
          <p:spPr bwMode="gray">
            <a:xfrm>
              <a:off x="1107098" y="3282514"/>
              <a:ext cx="541909" cy="857545"/>
            </a:xfrm>
            <a:custGeom>
              <a:avLst/>
              <a:gdLst>
                <a:gd name="T0" fmla="*/ 154 w 494"/>
                <a:gd name="T1" fmla="*/ 785 h 823"/>
                <a:gd name="T2" fmla="*/ 128 w 494"/>
                <a:gd name="T3" fmla="*/ 821 h 823"/>
                <a:gd name="T4" fmla="*/ 92 w 494"/>
                <a:gd name="T5" fmla="*/ 801 h 823"/>
                <a:gd name="T6" fmla="*/ 40 w 494"/>
                <a:gd name="T7" fmla="*/ 813 h 823"/>
                <a:gd name="T8" fmla="*/ 8 w 494"/>
                <a:gd name="T9" fmla="*/ 815 h 823"/>
                <a:gd name="T10" fmla="*/ 28 w 494"/>
                <a:gd name="T11" fmla="*/ 799 h 823"/>
                <a:gd name="T12" fmla="*/ 88 w 494"/>
                <a:gd name="T13" fmla="*/ 755 h 823"/>
                <a:gd name="T14" fmla="*/ 126 w 494"/>
                <a:gd name="T15" fmla="*/ 721 h 823"/>
                <a:gd name="T16" fmla="*/ 190 w 494"/>
                <a:gd name="T17" fmla="*/ 729 h 823"/>
                <a:gd name="T18" fmla="*/ 212 w 494"/>
                <a:gd name="T19" fmla="*/ 701 h 823"/>
                <a:gd name="T20" fmla="*/ 152 w 494"/>
                <a:gd name="T21" fmla="*/ 701 h 823"/>
                <a:gd name="T22" fmla="*/ 118 w 494"/>
                <a:gd name="T23" fmla="*/ 683 h 823"/>
                <a:gd name="T24" fmla="*/ 106 w 494"/>
                <a:gd name="T25" fmla="*/ 667 h 823"/>
                <a:gd name="T26" fmla="*/ 72 w 494"/>
                <a:gd name="T27" fmla="*/ 655 h 823"/>
                <a:gd name="T28" fmla="*/ 116 w 494"/>
                <a:gd name="T29" fmla="*/ 627 h 823"/>
                <a:gd name="T30" fmla="*/ 152 w 494"/>
                <a:gd name="T31" fmla="*/ 561 h 823"/>
                <a:gd name="T32" fmla="*/ 126 w 494"/>
                <a:gd name="T33" fmla="*/ 553 h 823"/>
                <a:gd name="T34" fmla="*/ 148 w 494"/>
                <a:gd name="T35" fmla="*/ 504 h 823"/>
                <a:gd name="T36" fmla="*/ 194 w 494"/>
                <a:gd name="T37" fmla="*/ 526 h 823"/>
                <a:gd name="T38" fmla="*/ 226 w 494"/>
                <a:gd name="T39" fmla="*/ 510 h 823"/>
                <a:gd name="T40" fmla="*/ 244 w 494"/>
                <a:gd name="T41" fmla="*/ 460 h 823"/>
                <a:gd name="T42" fmla="*/ 228 w 494"/>
                <a:gd name="T43" fmla="*/ 444 h 823"/>
                <a:gd name="T44" fmla="*/ 226 w 494"/>
                <a:gd name="T45" fmla="*/ 382 h 823"/>
                <a:gd name="T46" fmla="*/ 218 w 494"/>
                <a:gd name="T47" fmla="*/ 374 h 823"/>
                <a:gd name="T48" fmla="*/ 174 w 494"/>
                <a:gd name="T49" fmla="*/ 376 h 823"/>
                <a:gd name="T50" fmla="*/ 144 w 494"/>
                <a:gd name="T51" fmla="*/ 376 h 823"/>
                <a:gd name="T52" fmla="*/ 146 w 494"/>
                <a:gd name="T53" fmla="*/ 334 h 823"/>
                <a:gd name="T54" fmla="*/ 166 w 494"/>
                <a:gd name="T55" fmla="*/ 276 h 823"/>
                <a:gd name="T56" fmla="*/ 158 w 494"/>
                <a:gd name="T57" fmla="*/ 262 h 823"/>
                <a:gd name="T58" fmla="*/ 132 w 494"/>
                <a:gd name="T59" fmla="*/ 274 h 823"/>
                <a:gd name="T60" fmla="*/ 108 w 494"/>
                <a:gd name="T61" fmla="*/ 300 h 823"/>
                <a:gd name="T62" fmla="*/ 130 w 494"/>
                <a:gd name="T63" fmla="*/ 240 h 823"/>
                <a:gd name="T64" fmla="*/ 154 w 494"/>
                <a:gd name="T65" fmla="*/ 198 h 823"/>
                <a:gd name="T66" fmla="*/ 136 w 494"/>
                <a:gd name="T67" fmla="*/ 204 h 823"/>
                <a:gd name="T68" fmla="*/ 112 w 494"/>
                <a:gd name="T69" fmla="*/ 198 h 823"/>
                <a:gd name="T70" fmla="*/ 120 w 494"/>
                <a:gd name="T71" fmla="*/ 166 h 823"/>
                <a:gd name="T72" fmla="*/ 142 w 494"/>
                <a:gd name="T73" fmla="*/ 140 h 823"/>
                <a:gd name="T74" fmla="*/ 150 w 494"/>
                <a:gd name="T75" fmla="*/ 114 h 823"/>
                <a:gd name="T76" fmla="*/ 164 w 494"/>
                <a:gd name="T77" fmla="*/ 64 h 823"/>
                <a:gd name="T78" fmla="*/ 190 w 494"/>
                <a:gd name="T79" fmla="*/ 36 h 823"/>
                <a:gd name="T80" fmla="*/ 232 w 494"/>
                <a:gd name="T81" fmla="*/ 12 h 823"/>
                <a:gd name="T82" fmla="*/ 290 w 494"/>
                <a:gd name="T83" fmla="*/ 18 h 823"/>
                <a:gd name="T84" fmla="*/ 290 w 494"/>
                <a:gd name="T85" fmla="*/ 52 h 823"/>
                <a:gd name="T86" fmla="*/ 244 w 494"/>
                <a:gd name="T87" fmla="*/ 88 h 823"/>
                <a:gd name="T88" fmla="*/ 294 w 494"/>
                <a:gd name="T89" fmla="*/ 112 h 823"/>
                <a:gd name="T90" fmla="*/ 358 w 494"/>
                <a:gd name="T91" fmla="*/ 146 h 823"/>
                <a:gd name="T92" fmla="*/ 308 w 494"/>
                <a:gd name="T93" fmla="*/ 216 h 823"/>
                <a:gd name="T94" fmla="*/ 300 w 494"/>
                <a:gd name="T95" fmla="*/ 240 h 823"/>
                <a:gd name="T96" fmla="*/ 250 w 494"/>
                <a:gd name="T97" fmla="*/ 264 h 823"/>
                <a:gd name="T98" fmla="*/ 292 w 494"/>
                <a:gd name="T99" fmla="*/ 272 h 823"/>
                <a:gd name="T100" fmla="*/ 342 w 494"/>
                <a:gd name="T101" fmla="*/ 324 h 823"/>
                <a:gd name="T102" fmla="*/ 350 w 494"/>
                <a:gd name="T103" fmla="*/ 422 h 823"/>
                <a:gd name="T104" fmla="*/ 400 w 494"/>
                <a:gd name="T105" fmla="*/ 488 h 823"/>
                <a:gd name="T106" fmla="*/ 414 w 494"/>
                <a:gd name="T107" fmla="*/ 551 h 823"/>
                <a:gd name="T108" fmla="*/ 412 w 494"/>
                <a:gd name="T109" fmla="*/ 609 h 823"/>
                <a:gd name="T110" fmla="*/ 492 w 494"/>
                <a:gd name="T111" fmla="*/ 655 h 823"/>
                <a:gd name="T112" fmla="*/ 456 w 494"/>
                <a:gd name="T113" fmla="*/ 703 h 823"/>
                <a:gd name="T114" fmla="*/ 434 w 494"/>
                <a:gd name="T115" fmla="*/ 729 h 823"/>
                <a:gd name="T116" fmla="*/ 446 w 494"/>
                <a:gd name="T117" fmla="*/ 755 h 823"/>
                <a:gd name="T118" fmla="*/ 410 w 494"/>
                <a:gd name="T119" fmla="*/ 797 h 823"/>
                <a:gd name="T120" fmla="*/ 332 w 494"/>
                <a:gd name="T121" fmla="*/ 797 h 823"/>
                <a:gd name="T122" fmla="*/ 258 w 494"/>
                <a:gd name="T123" fmla="*/ 793 h 823"/>
                <a:gd name="T124" fmla="*/ 216 w 494"/>
                <a:gd name="T125" fmla="*/ 795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4" h="823">
                  <a:moveTo>
                    <a:pt x="208" y="795"/>
                  </a:moveTo>
                  <a:lnTo>
                    <a:pt x="200" y="787"/>
                  </a:lnTo>
                  <a:lnTo>
                    <a:pt x="190" y="781"/>
                  </a:lnTo>
                  <a:lnTo>
                    <a:pt x="178" y="781"/>
                  </a:lnTo>
                  <a:lnTo>
                    <a:pt x="168" y="781"/>
                  </a:lnTo>
                  <a:lnTo>
                    <a:pt x="162" y="787"/>
                  </a:lnTo>
                  <a:lnTo>
                    <a:pt x="154" y="785"/>
                  </a:lnTo>
                  <a:lnTo>
                    <a:pt x="148" y="791"/>
                  </a:lnTo>
                  <a:lnTo>
                    <a:pt x="144" y="799"/>
                  </a:lnTo>
                  <a:lnTo>
                    <a:pt x="142" y="809"/>
                  </a:lnTo>
                  <a:lnTo>
                    <a:pt x="136" y="805"/>
                  </a:lnTo>
                  <a:lnTo>
                    <a:pt x="136" y="811"/>
                  </a:lnTo>
                  <a:lnTo>
                    <a:pt x="132" y="817"/>
                  </a:lnTo>
                  <a:lnTo>
                    <a:pt x="128" y="821"/>
                  </a:lnTo>
                  <a:lnTo>
                    <a:pt x="120" y="815"/>
                  </a:lnTo>
                  <a:lnTo>
                    <a:pt x="112" y="809"/>
                  </a:lnTo>
                  <a:lnTo>
                    <a:pt x="108" y="803"/>
                  </a:lnTo>
                  <a:lnTo>
                    <a:pt x="106" y="797"/>
                  </a:lnTo>
                  <a:lnTo>
                    <a:pt x="100" y="793"/>
                  </a:lnTo>
                  <a:lnTo>
                    <a:pt x="100" y="803"/>
                  </a:lnTo>
                  <a:lnTo>
                    <a:pt x="92" y="801"/>
                  </a:lnTo>
                  <a:lnTo>
                    <a:pt x="82" y="801"/>
                  </a:lnTo>
                  <a:lnTo>
                    <a:pt x="74" y="799"/>
                  </a:lnTo>
                  <a:lnTo>
                    <a:pt x="68" y="799"/>
                  </a:lnTo>
                  <a:lnTo>
                    <a:pt x="62" y="807"/>
                  </a:lnTo>
                  <a:lnTo>
                    <a:pt x="52" y="807"/>
                  </a:lnTo>
                  <a:lnTo>
                    <a:pt x="46" y="809"/>
                  </a:lnTo>
                  <a:lnTo>
                    <a:pt x="40" y="813"/>
                  </a:lnTo>
                  <a:lnTo>
                    <a:pt x="38" y="821"/>
                  </a:lnTo>
                  <a:lnTo>
                    <a:pt x="32" y="823"/>
                  </a:lnTo>
                  <a:lnTo>
                    <a:pt x="26" y="815"/>
                  </a:lnTo>
                  <a:lnTo>
                    <a:pt x="24" y="811"/>
                  </a:lnTo>
                  <a:lnTo>
                    <a:pt x="18" y="807"/>
                  </a:lnTo>
                  <a:lnTo>
                    <a:pt x="14" y="811"/>
                  </a:lnTo>
                  <a:lnTo>
                    <a:pt x="8" y="815"/>
                  </a:lnTo>
                  <a:lnTo>
                    <a:pt x="2" y="813"/>
                  </a:lnTo>
                  <a:lnTo>
                    <a:pt x="0" y="805"/>
                  </a:lnTo>
                  <a:lnTo>
                    <a:pt x="4" y="803"/>
                  </a:lnTo>
                  <a:lnTo>
                    <a:pt x="8" y="799"/>
                  </a:lnTo>
                  <a:lnTo>
                    <a:pt x="18" y="799"/>
                  </a:lnTo>
                  <a:lnTo>
                    <a:pt x="24" y="799"/>
                  </a:lnTo>
                  <a:lnTo>
                    <a:pt x="28" y="799"/>
                  </a:lnTo>
                  <a:lnTo>
                    <a:pt x="36" y="795"/>
                  </a:lnTo>
                  <a:lnTo>
                    <a:pt x="46" y="787"/>
                  </a:lnTo>
                  <a:lnTo>
                    <a:pt x="54" y="779"/>
                  </a:lnTo>
                  <a:lnTo>
                    <a:pt x="56" y="773"/>
                  </a:lnTo>
                  <a:lnTo>
                    <a:pt x="64" y="771"/>
                  </a:lnTo>
                  <a:lnTo>
                    <a:pt x="76" y="767"/>
                  </a:lnTo>
                  <a:lnTo>
                    <a:pt x="88" y="755"/>
                  </a:lnTo>
                  <a:lnTo>
                    <a:pt x="88" y="745"/>
                  </a:lnTo>
                  <a:lnTo>
                    <a:pt x="92" y="737"/>
                  </a:lnTo>
                  <a:lnTo>
                    <a:pt x="100" y="737"/>
                  </a:lnTo>
                  <a:lnTo>
                    <a:pt x="108" y="739"/>
                  </a:lnTo>
                  <a:lnTo>
                    <a:pt x="112" y="731"/>
                  </a:lnTo>
                  <a:lnTo>
                    <a:pt x="114" y="723"/>
                  </a:lnTo>
                  <a:lnTo>
                    <a:pt x="126" y="721"/>
                  </a:lnTo>
                  <a:lnTo>
                    <a:pt x="134" y="721"/>
                  </a:lnTo>
                  <a:lnTo>
                    <a:pt x="140" y="721"/>
                  </a:lnTo>
                  <a:lnTo>
                    <a:pt x="148" y="721"/>
                  </a:lnTo>
                  <a:lnTo>
                    <a:pt x="158" y="729"/>
                  </a:lnTo>
                  <a:lnTo>
                    <a:pt x="166" y="731"/>
                  </a:lnTo>
                  <a:lnTo>
                    <a:pt x="178" y="731"/>
                  </a:lnTo>
                  <a:lnTo>
                    <a:pt x="190" y="729"/>
                  </a:lnTo>
                  <a:lnTo>
                    <a:pt x="194" y="721"/>
                  </a:lnTo>
                  <a:lnTo>
                    <a:pt x="200" y="715"/>
                  </a:lnTo>
                  <a:lnTo>
                    <a:pt x="208" y="709"/>
                  </a:lnTo>
                  <a:lnTo>
                    <a:pt x="216" y="705"/>
                  </a:lnTo>
                  <a:lnTo>
                    <a:pt x="222" y="695"/>
                  </a:lnTo>
                  <a:lnTo>
                    <a:pt x="218" y="697"/>
                  </a:lnTo>
                  <a:lnTo>
                    <a:pt x="212" y="701"/>
                  </a:lnTo>
                  <a:lnTo>
                    <a:pt x="200" y="699"/>
                  </a:lnTo>
                  <a:lnTo>
                    <a:pt x="198" y="697"/>
                  </a:lnTo>
                  <a:lnTo>
                    <a:pt x="188" y="703"/>
                  </a:lnTo>
                  <a:lnTo>
                    <a:pt x="182" y="711"/>
                  </a:lnTo>
                  <a:lnTo>
                    <a:pt x="170" y="713"/>
                  </a:lnTo>
                  <a:lnTo>
                    <a:pt x="162" y="709"/>
                  </a:lnTo>
                  <a:lnTo>
                    <a:pt x="152" y="701"/>
                  </a:lnTo>
                  <a:lnTo>
                    <a:pt x="148" y="693"/>
                  </a:lnTo>
                  <a:lnTo>
                    <a:pt x="144" y="687"/>
                  </a:lnTo>
                  <a:lnTo>
                    <a:pt x="140" y="685"/>
                  </a:lnTo>
                  <a:lnTo>
                    <a:pt x="134" y="687"/>
                  </a:lnTo>
                  <a:lnTo>
                    <a:pt x="128" y="691"/>
                  </a:lnTo>
                  <a:lnTo>
                    <a:pt x="118" y="689"/>
                  </a:lnTo>
                  <a:lnTo>
                    <a:pt x="118" y="683"/>
                  </a:lnTo>
                  <a:lnTo>
                    <a:pt x="130" y="679"/>
                  </a:lnTo>
                  <a:lnTo>
                    <a:pt x="132" y="675"/>
                  </a:lnTo>
                  <a:lnTo>
                    <a:pt x="122" y="673"/>
                  </a:lnTo>
                  <a:lnTo>
                    <a:pt x="116" y="671"/>
                  </a:lnTo>
                  <a:lnTo>
                    <a:pt x="118" y="665"/>
                  </a:lnTo>
                  <a:lnTo>
                    <a:pt x="110" y="665"/>
                  </a:lnTo>
                  <a:lnTo>
                    <a:pt x="106" y="667"/>
                  </a:lnTo>
                  <a:lnTo>
                    <a:pt x="94" y="669"/>
                  </a:lnTo>
                  <a:lnTo>
                    <a:pt x="88" y="673"/>
                  </a:lnTo>
                  <a:lnTo>
                    <a:pt x="74" y="671"/>
                  </a:lnTo>
                  <a:lnTo>
                    <a:pt x="72" y="665"/>
                  </a:lnTo>
                  <a:lnTo>
                    <a:pt x="66" y="663"/>
                  </a:lnTo>
                  <a:lnTo>
                    <a:pt x="66" y="659"/>
                  </a:lnTo>
                  <a:lnTo>
                    <a:pt x="72" y="655"/>
                  </a:lnTo>
                  <a:lnTo>
                    <a:pt x="74" y="649"/>
                  </a:lnTo>
                  <a:lnTo>
                    <a:pt x="66" y="643"/>
                  </a:lnTo>
                  <a:lnTo>
                    <a:pt x="70" y="637"/>
                  </a:lnTo>
                  <a:lnTo>
                    <a:pt x="80" y="633"/>
                  </a:lnTo>
                  <a:lnTo>
                    <a:pt x="96" y="635"/>
                  </a:lnTo>
                  <a:lnTo>
                    <a:pt x="102" y="627"/>
                  </a:lnTo>
                  <a:lnTo>
                    <a:pt x="116" y="627"/>
                  </a:lnTo>
                  <a:lnTo>
                    <a:pt x="130" y="623"/>
                  </a:lnTo>
                  <a:lnTo>
                    <a:pt x="142" y="615"/>
                  </a:lnTo>
                  <a:lnTo>
                    <a:pt x="148" y="599"/>
                  </a:lnTo>
                  <a:lnTo>
                    <a:pt x="150" y="587"/>
                  </a:lnTo>
                  <a:lnTo>
                    <a:pt x="148" y="579"/>
                  </a:lnTo>
                  <a:lnTo>
                    <a:pt x="150" y="569"/>
                  </a:lnTo>
                  <a:lnTo>
                    <a:pt x="152" y="561"/>
                  </a:lnTo>
                  <a:lnTo>
                    <a:pt x="148" y="557"/>
                  </a:lnTo>
                  <a:lnTo>
                    <a:pt x="140" y="557"/>
                  </a:lnTo>
                  <a:lnTo>
                    <a:pt x="134" y="563"/>
                  </a:lnTo>
                  <a:lnTo>
                    <a:pt x="124" y="565"/>
                  </a:lnTo>
                  <a:lnTo>
                    <a:pt x="116" y="563"/>
                  </a:lnTo>
                  <a:lnTo>
                    <a:pt x="116" y="557"/>
                  </a:lnTo>
                  <a:lnTo>
                    <a:pt x="126" y="553"/>
                  </a:lnTo>
                  <a:lnTo>
                    <a:pt x="136" y="546"/>
                  </a:lnTo>
                  <a:lnTo>
                    <a:pt x="144" y="538"/>
                  </a:lnTo>
                  <a:lnTo>
                    <a:pt x="142" y="530"/>
                  </a:lnTo>
                  <a:lnTo>
                    <a:pt x="136" y="524"/>
                  </a:lnTo>
                  <a:lnTo>
                    <a:pt x="134" y="516"/>
                  </a:lnTo>
                  <a:lnTo>
                    <a:pt x="136" y="508"/>
                  </a:lnTo>
                  <a:lnTo>
                    <a:pt x="148" y="504"/>
                  </a:lnTo>
                  <a:lnTo>
                    <a:pt x="152" y="508"/>
                  </a:lnTo>
                  <a:lnTo>
                    <a:pt x="160" y="522"/>
                  </a:lnTo>
                  <a:lnTo>
                    <a:pt x="164" y="526"/>
                  </a:lnTo>
                  <a:lnTo>
                    <a:pt x="170" y="526"/>
                  </a:lnTo>
                  <a:lnTo>
                    <a:pt x="176" y="520"/>
                  </a:lnTo>
                  <a:lnTo>
                    <a:pt x="182" y="526"/>
                  </a:lnTo>
                  <a:lnTo>
                    <a:pt x="194" y="526"/>
                  </a:lnTo>
                  <a:lnTo>
                    <a:pt x="200" y="524"/>
                  </a:lnTo>
                  <a:lnTo>
                    <a:pt x="206" y="526"/>
                  </a:lnTo>
                  <a:lnTo>
                    <a:pt x="212" y="534"/>
                  </a:lnTo>
                  <a:lnTo>
                    <a:pt x="218" y="532"/>
                  </a:lnTo>
                  <a:lnTo>
                    <a:pt x="216" y="522"/>
                  </a:lnTo>
                  <a:lnTo>
                    <a:pt x="224" y="518"/>
                  </a:lnTo>
                  <a:lnTo>
                    <a:pt x="226" y="510"/>
                  </a:lnTo>
                  <a:lnTo>
                    <a:pt x="224" y="504"/>
                  </a:lnTo>
                  <a:lnTo>
                    <a:pt x="232" y="492"/>
                  </a:lnTo>
                  <a:lnTo>
                    <a:pt x="228" y="486"/>
                  </a:lnTo>
                  <a:lnTo>
                    <a:pt x="230" y="476"/>
                  </a:lnTo>
                  <a:lnTo>
                    <a:pt x="234" y="472"/>
                  </a:lnTo>
                  <a:lnTo>
                    <a:pt x="242" y="470"/>
                  </a:lnTo>
                  <a:lnTo>
                    <a:pt x="244" y="460"/>
                  </a:lnTo>
                  <a:lnTo>
                    <a:pt x="248" y="454"/>
                  </a:lnTo>
                  <a:lnTo>
                    <a:pt x="248" y="448"/>
                  </a:lnTo>
                  <a:lnTo>
                    <a:pt x="240" y="448"/>
                  </a:lnTo>
                  <a:lnTo>
                    <a:pt x="234" y="448"/>
                  </a:lnTo>
                  <a:lnTo>
                    <a:pt x="232" y="456"/>
                  </a:lnTo>
                  <a:lnTo>
                    <a:pt x="228" y="452"/>
                  </a:lnTo>
                  <a:lnTo>
                    <a:pt x="228" y="444"/>
                  </a:lnTo>
                  <a:lnTo>
                    <a:pt x="222" y="440"/>
                  </a:lnTo>
                  <a:lnTo>
                    <a:pt x="218" y="432"/>
                  </a:lnTo>
                  <a:lnTo>
                    <a:pt x="220" y="424"/>
                  </a:lnTo>
                  <a:lnTo>
                    <a:pt x="214" y="416"/>
                  </a:lnTo>
                  <a:lnTo>
                    <a:pt x="212" y="404"/>
                  </a:lnTo>
                  <a:lnTo>
                    <a:pt x="218" y="394"/>
                  </a:lnTo>
                  <a:lnTo>
                    <a:pt x="226" y="382"/>
                  </a:lnTo>
                  <a:lnTo>
                    <a:pt x="232" y="378"/>
                  </a:lnTo>
                  <a:lnTo>
                    <a:pt x="240" y="374"/>
                  </a:lnTo>
                  <a:lnTo>
                    <a:pt x="248" y="370"/>
                  </a:lnTo>
                  <a:lnTo>
                    <a:pt x="238" y="368"/>
                  </a:lnTo>
                  <a:lnTo>
                    <a:pt x="226" y="366"/>
                  </a:lnTo>
                  <a:lnTo>
                    <a:pt x="222" y="370"/>
                  </a:lnTo>
                  <a:lnTo>
                    <a:pt x="218" y="374"/>
                  </a:lnTo>
                  <a:lnTo>
                    <a:pt x="208" y="374"/>
                  </a:lnTo>
                  <a:lnTo>
                    <a:pt x="204" y="376"/>
                  </a:lnTo>
                  <a:lnTo>
                    <a:pt x="190" y="380"/>
                  </a:lnTo>
                  <a:lnTo>
                    <a:pt x="182" y="374"/>
                  </a:lnTo>
                  <a:lnTo>
                    <a:pt x="176" y="368"/>
                  </a:lnTo>
                  <a:lnTo>
                    <a:pt x="172" y="370"/>
                  </a:lnTo>
                  <a:lnTo>
                    <a:pt x="174" y="376"/>
                  </a:lnTo>
                  <a:lnTo>
                    <a:pt x="174" y="384"/>
                  </a:lnTo>
                  <a:lnTo>
                    <a:pt x="164" y="382"/>
                  </a:lnTo>
                  <a:lnTo>
                    <a:pt x="158" y="370"/>
                  </a:lnTo>
                  <a:lnTo>
                    <a:pt x="152" y="364"/>
                  </a:lnTo>
                  <a:lnTo>
                    <a:pt x="146" y="362"/>
                  </a:lnTo>
                  <a:lnTo>
                    <a:pt x="144" y="368"/>
                  </a:lnTo>
                  <a:lnTo>
                    <a:pt x="144" y="376"/>
                  </a:lnTo>
                  <a:lnTo>
                    <a:pt x="140" y="380"/>
                  </a:lnTo>
                  <a:lnTo>
                    <a:pt x="140" y="370"/>
                  </a:lnTo>
                  <a:lnTo>
                    <a:pt x="136" y="362"/>
                  </a:lnTo>
                  <a:lnTo>
                    <a:pt x="134" y="352"/>
                  </a:lnTo>
                  <a:lnTo>
                    <a:pt x="136" y="344"/>
                  </a:lnTo>
                  <a:lnTo>
                    <a:pt x="142" y="344"/>
                  </a:lnTo>
                  <a:lnTo>
                    <a:pt x="146" y="334"/>
                  </a:lnTo>
                  <a:lnTo>
                    <a:pt x="158" y="326"/>
                  </a:lnTo>
                  <a:lnTo>
                    <a:pt x="160" y="316"/>
                  </a:lnTo>
                  <a:lnTo>
                    <a:pt x="168" y="310"/>
                  </a:lnTo>
                  <a:lnTo>
                    <a:pt x="176" y="304"/>
                  </a:lnTo>
                  <a:lnTo>
                    <a:pt x="172" y="294"/>
                  </a:lnTo>
                  <a:lnTo>
                    <a:pt x="164" y="286"/>
                  </a:lnTo>
                  <a:lnTo>
                    <a:pt x="166" y="276"/>
                  </a:lnTo>
                  <a:lnTo>
                    <a:pt x="166" y="272"/>
                  </a:lnTo>
                  <a:lnTo>
                    <a:pt x="166" y="260"/>
                  </a:lnTo>
                  <a:lnTo>
                    <a:pt x="174" y="260"/>
                  </a:lnTo>
                  <a:lnTo>
                    <a:pt x="174" y="254"/>
                  </a:lnTo>
                  <a:lnTo>
                    <a:pt x="168" y="252"/>
                  </a:lnTo>
                  <a:lnTo>
                    <a:pt x="162" y="262"/>
                  </a:lnTo>
                  <a:lnTo>
                    <a:pt x="158" y="262"/>
                  </a:lnTo>
                  <a:lnTo>
                    <a:pt x="156" y="268"/>
                  </a:lnTo>
                  <a:lnTo>
                    <a:pt x="154" y="276"/>
                  </a:lnTo>
                  <a:lnTo>
                    <a:pt x="152" y="268"/>
                  </a:lnTo>
                  <a:lnTo>
                    <a:pt x="148" y="262"/>
                  </a:lnTo>
                  <a:lnTo>
                    <a:pt x="142" y="264"/>
                  </a:lnTo>
                  <a:lnTo>
                    <a:pt x="140" y="270"/>
                  </a:lnTo>
                  <a:lnTo>
                    <a:pt x="132" y="274"/>
                  </a:lnTo>
                  <a:lnTo>
                    <a:pt x="128" y="282"/>
                  </a:lnTo>
                  <a:lnTo>
                    <a:pt x="128" y="288"/>
                  </a:lnTo>
                  <a:lnTo>
                    <a:pt x="124" y="296"/>
                  </a:lnTo>
                  <a:lnTo>
                    <a:pt x="122" y="304"/>
                  </a:lnTo>
                  <a:lnTo>
                    <a:pt x="118" y="310"/>
                  </a:lnTo>
                  <a:lnTo>
                    <a:pt x="110" y="308"/>
                  </a:lnTo>
                  <a:lnTo>
                    <a:pt x="108" y="300"/>
                  </a:lnTo>
                  <a:lnTo>
                    <a:pt x="114" y="292"/>
                  </a:lnTo>
                  <a:lnTo>
                    <a:pt x="118" y="282"/>
                  </a:lnTo>
                  <a:lnTo>
                    <a:pt x="122" y="276"/>
                  </a:lnTo>
                  <a:lnTo>
                    <a:pt x="130" y="270"/>
                  </a:lnTo>
                  <a:lnTo>
                    <a:pt x="124" y="260"/>
                  </a:lnTo>
                  <a:lnTo>
                    <a:pt x="130" y="252"/>
                  </a:lnTo>
                  <a:lnTo>
                    <a:pt x="130" y="240"/>
                  </a:lnTo>
                  <a:lnTo>
                    <a:pt x="134" y="234"/>
                  </a:lnTo>
                  <a:lnTo>
                    <a:pt x="138" y="226"/>
                  </a:lnTo>
                  <a:lnTo>
                    <a:pt x="136" y="222"/>
                  </a:lnTo>
                  <a:lnTo>
                    <a:pt x="146" y="214"/>
                  </a:lnTo>
                  <a:lnTo>
                    <a:pt x="146" y="206"/>
                  </a:lnTo>
                  <a:lnTo>
                    <a:pt x="152" y="206"/>
                  </a:lnTo>
                  <a:lnTo>
                    <a:pt x="154" y="198"/>
                  </a:lnTo>
                  <a:lnTo>
                    <a:pt x="158" y="190"/>
                  </a:lnTo>
                  <a:lnTo>
                    <a:pt x="160" y="184"/>
                  </a:lnTo>
                  <a:lnTo>
                    <a:pt x="154" y="184"/>
                  </a:lnTo>
                  <a:lnTo>
                    <a:pt x="146" y="190"/>
                  </a:lnTo>
                  <a:lnTo>
                    <a:pt x="142" y="196"/>
                  </a:lnTo>
                  <a:lnTo>
                    <a:pt x="134" y="196"/>
                  </a:lnTo>
                  <a:lnTo>
                    <a:pt x="136" y="204"/>
                  </a:lnTo>
                  <a:lnTo>
                    <a:pt x="130" y="208"/>
                  </a:lnTo>
                  <a:lnTo>
                    <a:pt x="124" y="212"/>
                  </a:lnTo>
                  <a:lnTo>
                    <a:pt x="114" y="212"/>
                  </a:lnTo>
                  <a:lnTo>
                    <a:pt x="102" y="212"/>
                  </a:lnTo>
                  <a:lnTo>
                    <a:pt x="98" y="206"/>
                  </a:lnTo>
                  <a:lnTo>
                    <a:pt x="104" y="204"/>
                  </a:lnTo>
                  <a:lnTo>
                    <a:pt x="112" y="198"/>
                  </a:lnTo>
                  <a:lnTo>
                    <a:pt x="114" y="194"/>
                  </a:lnTo>
                  <a:lnTo>
                    <a:pt x="108" y="188"/>
                  </a:lnTo>
                  <a:lnTo>
                    <a:pt x="106" y="180"/>
                  </a:lnTo>
                  <a:lnTo>
                    <a:pt x="112" y="176"/>
                  </a:lnTo>
                  <a:lnTo>
                    <a:pt x="114" y="172"/>
                  </a:lnTo>
                  <a:lnTo>
                    <a:pt x="112" y="168"/>
                  </a:lnTo>
                  <a:lnTo>
                    <a:pt x="120" y="166"/>
                  </a:lnTo>
                  <a:lnTo>
                    <a:pt x="128" y="168"/>
                  </a:lnTo>
                  <a:lnTo>
                    <a:pt x="134" y="170"/>
                  </a:lnTo>
                  <a:lnTo>
                    <a:pt x="136" y="160"/>
                  </a:lnTo>
                  <a:lnTo>
                    <a:pt x="136" y="152"/>
                  </a:lnTo>
                  <a:lnTo>
                    <a:pt x="140" y="148"/>
                  </a:lnTo>
                  <a:lnTo>
                    <a:pt x="148" y="150"/>
                  </a:lnTo>
                  <a:lnTo>
                    <a:pt x="142" y="140"/>
                  </a:lnTo>
                  <a:lnTo>
                    <a:pt x="148" y="138"/>
                  </a:lnTo>
                  <a:lnTo>
                    <a:pt x="156" y="140"/>
                  </a:lnTo>
                  <a:lnTo>
                    <a:pt x="150" y="130"/>
                  </a:lnTo>
                  <a:lnTo>
                    <a:pt x="152" y="124"/>
                  </a:lnTo>
                  <a:lnTo>
                    <a:pt x="160" y="126"/>
                  </a:lnTo>
                  <a:lnTo>
                    <a:pt x="152" y="120"/>
                  </a:lnTo>
                  <a:lnTo>
                    <a:pt x="150" y="114"/>
                  </a:lnTo>
                  <a:lnTo>
                    <a:pt x="148" y="104"/>
                  </a:lnTo>
                  <a:lnTo>
                    <a:pt x="148" y="96"/>
                  </a:lnTo>
                  <a:lnTo>
                    <a:pt x="158" y="96"/>
                  </a:lnTo>
                  <a:lnTo>
                    <a:pt x="154" y="88"/>
                  </a:lnTo>
                  <a:lnTo>
                    <a:pt x="156" y="82"/>
                  </a:lnTo>
                  <a:lnTo>
                    <a:pt x="158" y="76"/>
                  </a:lnTo>
                  <a:lnTo>
                    <a:pt x="164" y="64"/>
                  </a:lnTo>
                  <a:lnTo>
                    <a:pt x="174" y="66"/>
                  </a:lnTo>
                  <a:lnTo>
                    <a:pt x="184" y="70"/>
                  </a:lnTo>
                  <a:lnTo>
                    <a:pt x="190" y="66"/>
                  </a:lnTo>
                  <a:lnTo>
                    <a:pt x="186" y="60"/>
                  </a:lnTo>
                  <a:lnTo>
                    <a:pt x="182" y="52"/>
                  </a:lnTo>
                  <a:lnTo>
                    <a:pt x="188" y="52"/>
                  </a:lnTo>
                  <a:lnTo>
                    <a:pt x="190" y="36"/>
                  </a:lnTo>
                  <a:lnTo>
                    <a:pt x="200" y="34"/>
                  </a:lnTo>
                  <a:lnTo>
                    <a:pt x="200" y="26"/>
                  </a:lnTo>
                  <a:lnTo>
                    <a:pt x="210" y="20"/>
                  </a:lnTo>
                  <a:lnTo>
                    <a:pt x="210" y="12"/>
                  </a:lnTo>
                  <a:lnTo>
                    <a:pt x="216" y="0"/>
                  </a:lnTo>
                  <a:lnTo>
                    <a:pt x="224" y="4"/>
                  </a:lnTo>
                  <a:lnTo>
                    <a:pt x="232" y="12"/>
                  </a:lnTo>
                  <a:lnTo>
                    <a:pt x="230" y="16"/>
                  </a:lnTo>
                  <a:lnTo>
                    <a:pt x="238" y="14"/>
                  </a:lnTo>
                  <a:lnTo>
                    <a:pt x="242" y="18"/>
                  </a:lnTo>
                  <a:lnTo>
                    <a:pt x="254" y="18"/>
                  </a:lnTo>
                  <a:lnTo>
                    <a:pt x="270" y="18"/>
                  </a:lnTo>
                  <a:lnTo>
                    <a:pt x="286" y="16"/>
                  </a:lnTo>
                  <a:lnTo>
                    <a:pt x="290" y="18"/>
                  </a:lnTo>
                  <a:lnTo>
                    <a:pt x="298" y="18"/>
                  </a:lnTo>
                  <a:lnTo>
                    <a:pt x="310" y="18"/>
                  </a:lnTo>
                  <a:lnTo>
                    <a:pt x="314" y="22"/>
                  </a:lnTo>
                  <a:lnTo>
                    <a:pt x="310" y="30"/>
                  </a:lnTo>
                  <a:lnTo>
                    <a:pt x="308" y="40"/>
                  </a:lnTo>
                  <a:lnTo>
                    <a:pt x="300" y="52"/>
                  </a:lnTo>
                  <a:lnTo>
                    <a:pt x="290" y="52"/>
                  </a:lnTo>
                  <a:lnTo>
                    <a:pt x="280" y="62"/>
                  </a:lnTo>
                  <a:lnTo>
                    <a:pt x="266" y="68"/>
                  </a:lnTo>
                  <a:lnTo>
                    <a:pt x="260" y="76"/>
                  </a:lnTo>
                  <a:lnTo>
                    <a:pt x="248" y="76"/>
                  </a:lnTo>
                  <a:lnTo>
                    <a:pt x="252" y="84"/>
                  </a:lnTo>
                  <a:lnTo>
                    <a:pt x="238" y="84"/>
                  </a:lnTo>
                  <a:lnTo>
                    <a:pt x="244" y="88"/>
                  </a:lnTo>
                  <a:lnTo>
                    <a:pt x="258" y="90"/>
                  </a:lnTo>
                  <a:lnTo>
                    <a:pt x="250" y="100"/>
                  </a:lnTo>
                  <a:lnTo>
                    <a:pt x="240" y="108"/>
                  </a:lnTo>
                  <a:lnTo>
                    <a:pt x="258" y="110"/>
                  </a:lnTo>
                  <a:lnTo>
                    <a:pt x="272" y="108"/>
                  </a:lnTo>
                  <a:lnTo>
                    <a:pt x="286" y="104"/>
                  </a:lnTo>
                  <a:lnTo>
                    <a:pt x="294" y="112"/>
                  </a:lnTo>
                  <a:lnTo>
                    <a:pt x="308" y="112"/>
                  </a:lnTo>
                  <a:lnTo>
                    <a:pt x="322" y="116"/>
                  </a:lnTo>
                  <a:lnTo>
                    <a:pt x="338" y="120"/>
                  </a:lnTo>
                  <a:lnTo>
                    <a:pt x="354" y="120"/>
                  </a:lnTo>
                  <a:lnTo>
                    <a:pt x="360" y="128"/>
                  </a:lnTo>
                  <a:lnTo>
                    <a:pt x="362" y="138"/>
                  </a:lnTo>
                  <a:lnTo>
                    <a:pt x="358" y="146"/>
                  </a:lnTo>
                  <a:lnTo>
                    <a:pt x="352" y="152"/>
                  </a:lnTo>
                  <a:lnTo>
                    <a:pt x="342" y="166"/>
                  </a:lnTo>
                  <a:lnTo>
                    <a:pt x="340" y="174"/>
                  </a:lnTo>
                  <a:lnTo>
                    <a:pt x="332" y="192"/>
                  </a:lnTo>
                  <a:lnTo>
                    <a:pt x="324" y="200"/>
                  </a:lnTo>
                  <a:lnTo>
                    <a:pt x="316" y="206"/>
                  </a:lnTo>
                  <a:lnTo>
                    <a:pt x="308" y="216"/>
                  </a:lnTo>
                  <a:lnTo>
                    <a:pt x="300" y="226"/>
                  </a:lnTo>
                  <a:lnTo>
                    <a:pt x="290" y="230"/>
                  </a:lnTo>
                  <a:lnTo>
                    <a:pt x="272" y="232"/>
                  </a:lnTo>
                  <a:lnTo>
                    <a:pt x="264" y="234"/>
                  </a:lnTo>
                  <a:lnTo>
                    <a:pt x="276" y="240"/>
                  </a:lnTo>
                  <a:lnTo>
                    <a:pt x="286" y="240"/>
                  </a:lnTo>
                  <a:lnTo>
                    <a:pt x="300" y="240"/>
                  </a:lnTo>
                  <a:lnTo>
                    <a:pt x="308" y="244"/>
                  </a:lnTo>
                  <a:lnTo>
                    <a:pt x="302" y="250"/>
                  </a:lnTo>
                  <a:lnTo>
                    <a:pt x="284" y="258"/>
                  </a:lnTo>
                  <a:lnTo>
                    <a:pt x="272" y="256"/>
                  </a:lnTo>
                  <a:lnTo>
                    <a:pt x="266" y="260"/>
                  </a:lnTo>
                  <a:lnTo>
                    <a:pt x="260" y="264"/>
                  </a:lnTo>
                  <a:lnTo>
                    <a:pt x="250" y="264"/>
                  </a:lnTo>
                  <a:lnTo>
                    <a:pt x="240" y="264"/>
                  </a:lnTo>
                  <a:lnTo>
                    <a:pt x="244" y="268"/>
                  </a:lnTo>
                  <a:lnTo>
                    <a:pt x="254" y="270"/>
                  </a:lnTo>
                  <a:lnTo>
                    <a:pt x="268" y="276"/>
                  </a:lnTo>
                  <a:lnTo>
                    <a:pt x="274" y="276"/>
                  </a:lnTo>
                  <a:lnTo>
                    <a:pt x="282" y="270"/>
                  </a:lnTo>
                  <a:lnTo>
                    <a:pt x="292" y="272"/>
                  </a:lnTo>
                  <a:lnTo>
                    <a:pt x="300" y="280"/>
                  </a:lnTo>
                  <a:lnTo>
                    <a:pt x="310" y="284"/>
                  </a:lnTo>
                  <a:lnTo>
                    <a:pt x="318" y="284"/>
                  </a:lnTo>
                  <a:lnTo>
                    <a:pt x="318" y="290"/>
                  </a:lnTo>
                  <a:lnTo>
                    <a:pt x="322" y="302"/>
                  </a:lnTo>
                  <a:lnTo>
                    <a:pt x="326" y="316"/>
                  </a:lnTo>
                  <a:lnTo>
                    <a:pt x="342" y="324"/>
                  </a:lnTo>
                  <a:lnTo>
                    <a:pt x="344" y="330"/>
                  </a:lnTo>
                  <a:lnTo>
                    <a:pt x="346" y="344"/>
                  </a:lnTo>
                  <a:lnTo>
                    <a:pt x="338" y="350"/>
                  </a:lnTo>
                  <a:lnTo>
                    <a:pt x="340" y="362"/>
                  </a:lnTo>
                  <a:lnTo>
                    <a:pt x="344" y="390"/>
                  </a:lnTo>
                  <a:lnTo>
                    <a:pt x="346" y="410"/>
                  </a:lnTo>
                  <a:lnTo>
                    <a:pt x="350" y="422"/>
                  </a:lnTo>
                  <a:lnTo>
                    <a:pt x="362" y="426"/>
                  </a:lnTo>
                  <a:lnTo>
                    <a:pt x="372" y="434"/>
                  </a:lnTo>
                  <a:lnTo>
                    <a:pt x="388" y="448"/>
                  </a:lnTo>
                  <a:lnTo>
                    <a:pt x="390" y="462"/>
                  </a:lnTo>
                  <a:lnTo>
                    <a:pt x="398" y="474"/>
                  </a:lnTo>
                  <a:lnTo>
                    <a:pt x="402" y="482"/>
                  </a:lnTo>
                  <a:lnTo>
                    <a:pt x="400" y="488"/>
                  </a:lnTo>
                  <a:lnTo>
                    <a:pt x="398" y="496"/>
                  </a:lnTo>
                  <a:lnTo>
                    <a:pt x="402" y="508"/>
                  </a:lnTo>
                  <a:lnTo>
                    <a:pt x="408" y="522"/>
                  </a:lnTo>
                  <a:lnTo>
                    <a:pt x="404" y="528"/>
                  </a:lnTo>
                  <a:lnTo>
                    <a:pt x="400" y="534"/>
                  </a:lnTo>
                  <a:lnTo>
                    <a:pt x="404" y="540"/>
                  </a:lnTo>
                  <a:lnTo>
                    <a:pt x="414" y="551"/>
                  </a:lnTo>
                  <a:lnTo>
                    <a:pt x="416" y="565"/>
                  </a:lnTo>
                  <a:lnTo>
                    <a:pt x="418" y="577"/>
                  </a:lnTo>
                  <a:lnTo>
                    <a:pt x="410" y="585"/>
                  </a:lnTo>
                  <a:lnTo>
                    <a:pt x="400" y="591"/>
                  </a:lnTo>
                  <a:lnTo>
                    <a:pt x="398" y="595"/>
                  </a:lnTo>
                  <a:lnTo>
                    <a:pt x="402" y="605"/>
                  </a:lnTo>
                  <a:lnTo>
                    <a:pt x="412" y="609"/>
                  </a:lnTo>
                  <a:lnTo>
                    <a:pt x="420" y="603"/>
                  </a:lnTo>
                  <a:lnTo>
                    <a:pt x="430" y="597"/>
                  </a:lnTo>
                  <a:lnTo>
                    <a:pt x="446" y="599"/>
                  </a:lnTo>
                  <a:lnTo>
                    <a:pt x="466" y="603"/>
                  </a:lnTo>
                  <a:lnTo>
                    <a:pt x="482" y="617"/>
                  </a:lnTo>
                  <a:lnTo>
                    <a:pt x="494" y="635"/>
                  </a:lnTo>
                  <a:lnTo>
                    <a:pt x="492" y="655"/>
                  </a:lnTo>
                  <a:lnTo>
                    <a:pt x="486" y="667"/>
                  </a:lnTo>
                  <a:lnTo>
                    <a:pt x="482" y="679"/>
                  </a:lnTo>
                  <a:lnTo>
                    <a:pt x="476" y="687"/>
                  </a:lnTo>
                  <a:lnTo>
                    <a:pt x="468" y="695"/>
                  </a:lnTo>
                  <a:lnTo>
                    <a:pt x="454" y="697"/>
                  </a:lnTo>
                  <a:lnTo>
                    <a:pt x="446" y="697"/>
                  </a:lnTo>
                  <a:lnTo>
                    <a:pt x="456" y="703"/>
                  </a:lnTo>
                  <a:lnTo>
                    <a:pt x="456" y="711"/>
                  </a:lnTo>
                  <a:lnTo>
                    <a:pt x="448" y="715"/>
                  </a:lnTo>
                  <a:lnTo>
                    <a:pt x="440" y="709"/>
                  </a:lnTo>
                  <a:lnTo>
                    <a:pt x="434" y="711"/>
                  </a:lnTo>
                  <a:lnTo>
                    <a:pt x="428" y="715"/>
                  </a:lnTo>
                  <a:lnTo>
                    <a:pt x="432" y="721"/>
                  </a:lnTo>
                  <a:lnTo>
                    <a:pt x="434" y="729"/>
                  </a:lnTo>
                  <a:lnTo>
                    <a:pt x="430" y="735"/>
                  </a:lnTo>
                  <a:lnTo>
                    <a:pt x="412" y="733"/>
                  </a:lnTo>
                  <a:lnTo>
                    <a:pt x="410" y="739"/>
                  </a:lnTo>
                  <a:lnTo>
                    <a:pt x="414" y="745"/>
                  </a:lnTo>
                  <a:lnTo>
                    <a:pt x="420" y="753"/>
                  </a:lnTo>
                  <a:lnTo>
                    <a:pt x="434" y="755"/>
                  </a:lnTo>
                  <a:lnTo>
                    <a:pt x="446" y="755"/>
                  </a:lnTo>
                  <a:lnTo>
                    <a:pt x="460" y="757"/>
                  </a:lnTo>
                  <a:lnTo>
                    <a:pt x="456" y="763"/>
                  </a:lnTo>
                  <a:lnTo>
                    <a:pt x="454" y="777"/>
                  </a:lnTo>
                  <a:lnTo>
                    <a:pt x="434" y="785"/>
                  </a:lnTo>
                  <a:lnTo>
                    <a:pt x="428" y="785"/>
                  </a:lnTo>
                  <a:lnTo>
                    <a:pt x="428" y="795"/>
                  </a:lnTo>
                  <a:lnTo>
                    <a:pt x="410" y="797"/>
                  </a:lnTo>
                  <a:lnTo>
                    <a:pt x="392" y="803"/>
                  </a:lnTo>
                  <a:lnTo>
                    <a:pt x="386" y="805"/>
                  </a:lnTo>
                  <a:lnTo>
                    <a:pt x="382" y="809"/>
                  </a:lnTo>
                  <a:lnTo>
                    <a:pt x="370" y="805"/>
                  </a:lnTo>
                  <a:lnTo>
                    <a:pt x="360" y="797"/>
                  </a:lnTo>
                  <a:lnTo>
                    <a:pt x="350" y="797"/>
                  </a:lnTo>
                  <a:lnTo>
                    <a:pt x="332" y="797"/>
                  </a:lnTo>
                  <a:lnTo>
                    <a:pt x="322" y="799"/>
                  </a:lnTo>
                  <a:lnTo>
                    <a:pt x="312" y="797"/>
                  </a:lnTo>
                  <a:lnTo>
                    <a:pt x="306" y="791"/>
                  </a:lnTo>
                  <a:lnTo>
                    <a:pt x="292" y="791"/>
                  </a:lnTo>
                  <a:lnTo>
                    <a:pt x="284" y="781"/>
                  </a:lnTo>
                  <a:lnTo>
                    <a:pt x="280" y="789"/>
                  </a:lnTo>
                  <a:lnTo>
                    <a:pt x="258" y="793"/>
                  </a:lnTo>
                  <a:lnTo>
                    <a:pt x="244" y="791"/>
                  </a:lnTo>
                  <a:lnTo>
                    <a:pt x="240" y="791"/>
                  </a:lnTo>
                  <a:lnTo>
                    <a:pt x="242" y="795"/>
                  </a:lnTo>
                  <a:lnTo>
                    <a:pt x="244" y="799"/>
                  </a:lnTo>
                  <a:lnTo>
                    <a:pt x="240" y="805"/>
                  </a:lnTo>
                  <a:lnTo>
                    <a:pt x="230" y="799"/>
                  </a:lnTo>
                  <a:lnTo>
                    <a:pt x="216" y="795"/>
                  </a:lnTo>
                  <a:lnTo>
                    <a:pt x="208" y="795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6" name="Freeform 21"/>
            <p:cNvSpPr>
              <a:spLocks/>
            </p:cNvSpPr>
            <p:nvPr/>
          </p:nvSpPr>
          <p:spPr bwMode="gray">
            <a:xfrm>
              <a:off x="851532" y="3580848"/>
              <a:ext cx="319793" cy="351848"/>
            </a:xfrm>
            <a:custGeom>
              <a:avLst/>
              <a:gdLst>
                <a:gd name="T0" fmla="*/ 102 w 292"/>
                <a:gd name="T1" fmla="*/ 64 h 337"/>
                <a:gd name="T2" fmla="*/ 126 w 292"/>
                <a:gd name="T3" fmla="*/ 78 h 337"/>
                <a:gd name="T4" fmla="*/ 146 w 292"/>
                <a:gd name="T5" fmla="*/ 82 h 337"/>
                <a:gd name="T6" fmla="*/ 162 w 292"/>
                <a:gd name="T7" fmla="*/ 78 h 337"/>
                <a:gd name="T8" fmla="*/ 186 w 292"/>
                <a:gd name="T9" fmla="*/ 70 h 337"/>
                <a:gd name="T10" fmla="*/ 194 w 292"/>
                <a:gd name="T11" fmla="*/ 58 h 337"/>
                <a:gd name="T12" fmla="*/ 168 w 292"/>
                <a:gd name="T13" fmla="*/ 52 h 337"/>
                <a:gd name="T14" fmla="*/ 180 w 292"/>
                <a:gd name="T15" fmla="*/ 38 h 337"/>
                <a:gd name="T16" fmla="*/ 188 w 292"/>
                <a:gd name="T17" fmla="*/ 18 h 337"/>
                <a:gd name="T18" fmla="*/ 212 w 292"/>
                <a:gd name="T19" fmla="*/ 10 h 337"/>
                <a:gd name="T20" fmla="*/ 228 w 292"/>
                <a:gd name="T21" fmla="*/ 6 h 337"/>
                <a:gd name="T22" fmla="*/ 244 w 292"/>
                <a:gd name="T23" fmla="*/ 12 h 337"/>
                <a:gd name="T24" fmla="*/ 262 w 292"/>
                <a:gd name="T25" fmla="*/ 0 h 337"/>
                <a:gd name="T26" fmla="*/ 274 w 292"/>
                <a:gd name="T27" fmla="*/ 18 h 337"/>
                <a:gd name="T28" fmla="*/ 250 w 292"/>
                <a:gd name="T29" fmla="*/ 26 h 337"/>
                <a:gd name="T30" fmla="*/ 232 w 292"/>
                <a:gd name="T31" fmla="*/ 52 h 337"/>
                <a:gd name="T32" fmla="*/ 208 w 292"/>
                <a:gd name="T33" fmla="*/ 52 h 337"/>
                <a:gd name="T34" fmla="*/ 214 w 292"/>
                <a:gd name="T35" fmla="*/ 70 h 337"/>
                <a:gd name="T36" fmla="*/ 196 w 292"/>
                <a:gd name="T37" fmla="*/ 72 h 337"/>
                <a:gd name="T38" fmla="*/ 202 w 292"/>
                <a:gd name="T39" fmla="*/ 100 h 337"/>
                <a:gd name="T40" fmla="*/ 230 w 292"/>
                <a:gd name="T41" fmla="*/ 116 h 337"/>
                <a:gd name="T42" fmla="*/ 252 w 292"/>
                <a:gd name="T43" fmla="*/ 94 h 337"/>
                <a:gd name="T44" fmla="*/ 264 w 292"/>
                <a:gd name="T45" fmla="*/ 116 h 337"/>
                <a:gd name="T46" fmla="*/ 278 w 292"/>
                <a:gd name="T47" fmla="*/ 130 h 337"/>
                <a:gd name="T48" fmla="*/ 286 w 292"/>
                <a:gd name="T49" fmla="*/ 142 h 337"/>
                <a:gd name="T50" fmla="*/ 282 w 292"/>
                <a:gd name="T51" fmla="*/ 158 h 337"/>
                <a:gd name="T52" fmla="*/ 282 w 292"/>
                <a:gd name="T53" fmla="*/ 192 h 337"/>
                <a:gd name="T54" fmla="*/ 280 w 292"/>
                <a:gd name="T55" fmla="*/ 246 h 337"/>
                <a:gd name="T56" fmla="*/ 260 w 292"/>
                <a:gd name="T57" fmla="*/ 281 h 337"/>
                <a:gd name="T58" fmla="*/ 242 w 292"/>
                <a:gd name="T59" fmla="*/ 303 h 337"/>
                <a:gd name="T60" fmla="*/ 224 w 292"/>
                <a:gd name="T61" fmla="*/ 309 h 337"/>
                <a:gd name="T62" fmla="*/ 210 w 292"/>
                <a:gd name="T63" fmla="*/ 305 h 337"/>
                <a:gd name="T64" fmla="*/ 182 w 292"/>
                <a:gd name="T65" fmla="*/ 305 h 337"/>
                <a:gd name="T66" fmla="*/ 166 w 292"/>
                <a:gd name="T67" fmla="*/ 317 h 337"/>
                <a:gd name="T68" fmla="*/ 134 w 292"/>
                <a:gd name="T69" fmla="*/ 327 h 337"/>
                <a:gd name="T70" fmla="*/ 104 w 292"/>
                <a:gd name="T71" fmla="*/ 333 h 337"/>
                <a:gd name="T72" fmla="*/ 70 w 292"/>
                <a:gd name="T73" fmla="*/ 335 h 337"/>
                <a:gd name="T74" fmla="*/ 32 w 292"/>
                <a:gd name="T75" fmla="*/ 331 h 337"/>
                <a:gd name="T76" fmla="*/ 38 w 292"/>
                <a:gd name="T77" fmla="*/ 321 h 337"/>
                <a:gd name="T78" fmla="*/ 44 w 292"/>
                <a:gd name="T79" fmla="*/ 311 h 337"/>
                <a:gd name="T80" fmla="*/ 14 w 292"/>
                <a:gd name="T81" fmla="*/ 315 h 337"/>
                <a:gd name="T82" fmla="*/ 30 w 292"/>
                <a:gd name="T83" fmla="*/ 305 h 337"/>
                <a:gd name="T84" fmla="*/ 28 w 292"/>
                <a:gd name="T85" fmla="*/ 297 h 337"/>
                <a:gd name="T86" fmla="*/ 0 w 292"/>
                <a:gd name="T87" fmla="*/ 289 h 337"/>
                <a:gd name="T88" fmla="*/ 12 w 292"/>
                <a:gd name="T89" fmla="*/ 277 h 337"/>
                <a:gd name="T90" fmla="*/ 38 w 292"/>
                <a:gd name="T91" fmla="*/ 271 h 337"/>
                <a:gd name="T92" fmla="*/ 2 w 292"/>
                <a:gd name="T93" fmla="*/ 260 h 337"/>
                <a:gd name="T94" fmla="*/ 26 w 292"/>
                <a:gd name="T95" fmla="*/ 252 h 337"/>
                <a:gd name="T96" fmla="*/ 44 w 292"/>
                <a:gd name="T97" fmla="*/ 240 h 337"/>
                <a:gd name="T98" fmla="*/ 66 w 292"/>
                <a:gd name="T99" fmla="*/ 230 h 337"/>
                <a:gd name="T100" fmla="*/ 56 w 292"/>
                <a:gd name="T101" fmla="*/ 222 h 337"/>
                <a:gd name="T102" fmla="*/ 82 w 292"/>
                <a:gd name="T103" fmla="*/ 194 h 337"/>
                <a:gd name="T104" fmla="*/ 114 w 292"/>
                <a:gd name="T105" fmla="*/ 182 h 337"/>
                <a:gd name="T106" fmla="*/ 94 w 292"/>
                <a:gd name="T107" fmla="*/ 172 h 337"/>
                <a:gd name="T108" fmla="*/ 80 w 292"/>
                <a:gd name="T109" fmla="*/ 154 h 337"/>
                <a:gd name="T110" fmla="*/ 62 w 292"/>
                <a:gd name="T111" fmla="*/ 148 h 337"/>
                <a:gd name="T112" fmla="*/ 70 w 292"/>
                <a:gd name="T113" fmla="*/ 130 h 337"/>
                <a:gd name="T114" fmla="*/ 84 w 292"/>
                <a:gd name="T115" fmla="*/ 112 h 337"/>
                <a:gd name="T116" fmla="*/ 90 w 292"/>
                <a:gd name="T117" fmla="*/ 102 h 337"/>
                <a:gd name="T118" fmla="*/ 68 w 292"/>
                <a:gd name="T119" fmla="*/ 92 h 337"/>
                <a:gd name="T120" fmla="*/ 76 w 292"/>
                <a:gd name="T121" fmla="*/ 88 h 337"/>
                <a:gd name="T122" fmla="*/ 84 w 292"/>
                <a:gd name="T123" fmla="*/ 72 h 337"/>
                <a:gd name="T124" fmla="*/ 72 w 292"/>
                <a:gd name="T125" fmla="*/ 7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2" h="337">
                  <a:moveTo>
                    <a:pt x="84" y="64"/>
                  </a:moveTo>
                  <a:lnTo>
                    <a:pt x="92" y="68"/>
                  </a:lnTo>
                  <a:lnTo>
                    <a:pt x="102" y="64"/>
                  </a:lnTo>
                  <a:lnTo>
                    <a:pt x="112" y="70"/>
                  </a:lnTo>
                  <a:lnTo>
                    <a:pt x="124" y="72"/>
                  </a:lnTo>
                  <a:lnTo>
                    <a:pt x="126" y="78"/>
                  </a:lnTo>
                  <a:lnTo>
                    <a:pt x="132" y="82"/>
                  </a:lnTo>
                  <a:lnTo>
                    <a:pt x="138" y="78"/>
                  </a:lnTo>
                  <a:lnTo>
                    <a:pt x="146" y="82"/>
                  </a:lnTo>
                  <a:lnTo>
                    <a:pt x="158" y="88"/>
                  </a:lnTo>
                  <a:lnTo>
                    <a:pt x="166" y="84"/>
                  </a:lnTo>
                  <a:lnTo>
                    <a:pt x="162" y="78"/>
                  </a:lnTo>
                  <a:lnTo>
                    <a:pt x="166" y="74"/>
                  </a:lnTo>
                  <a:lnTo>
                    <a:pt x="172" y="70"/>
                  </a:lnTo>
                  <a:lnTo>
                    <a:pt x="186" y="70"/>
                  </a:lnTo>
                  <a:lnTo>
                    <a:pt x="190" y="72"/>
                  </a:lnTo>
                  <a:lnTo>
                    <a:pt x="192" y="64"/>
                  </a:lnTo>
                  <a:lnTo>
                    <a:pt x="194" y="58"/>
                  </a:lnTo>
                  <a:lnTo>
                    <a:pt x="184" y="56"/>
                  </a:lnTo>
                  <a:lnTo>
                    <a:pt x="178" y="52"/>
                  </a:lnTo>
                  <a:lnTo>
                    <a:pt x="168" y="52"/>
                  </a:lnTo>
                  <a:lnTo>
                    <a:pt x="162" y="44"/>
                  </a:lnTo>
                  <a:lnTo>
                    <a:pt x="164" y="38"/>
                  </a:lnTo>
                  <a:lnTo>
                    <a:pt x="180" y="38"/>
                  </a:lnTo>
                  <a:lnTo>
                    <a:pt x="182" y="32"/>
                  </a:lnTo>
                  <a:lnTo>
                    <a:pt x="190" y="30"/>
                  </a:lnTo>
                  <a:lnTo>
                    <a:pt x="188" y="18"/>
                  </a:lnTo>
                  <a:lnTo>
                    <a:pt x="198" y="14"/>
                  </a:lnTo>
                  <a:lnTo>
                    <a:pt x="202" y="6"/>
                  </a:lnTo>
                  <a:lnTo>
                    <a:pt x="212" y="10"/>
                  </a:lnTo>
                  <a:lnTo>
                    <a:pt x="218" y="6"/>
                  </a:lnTo>
                  <a:lnTo>
                    <a:pt x="222" y="12"/>
                  </a:lnTo>
                  <a:lnTo>
                    <a:pt x="228" y="6"/>
                  </a:lnTo>
                  <a:lnTo>
                    <a:pt x="236" y="6"/>
                  </a:lnTo>
                  <a:lnTo>
                    <a:pt x="236" y="12"/>
                  </a:lnTo>
                  <a:lnTo>
                    <a:pt x="244" y="12"/>
                  </a:lnTo>
                  <a:lnTo>
                    <a:pt x="250" y="6"/>
                  </a:lnTo>
                  <a:lnTo>
                    <a:pt x="256" y="2"/>
                  </a:lnTo>
                  <a:lnTo>
                    <a:pt x="262" y="0"/>
                  </a:lnTo>
                  <a:lnTo>
                    <a:pt x="266" y="8"/>
                  </a:lnTo>
                  <a:lnTo>
                    <a:pt x="274" y="12"/>
                  </a:lnTo>
                  <a:lnTo>
                    <a:pt x="274" y="18"/>
                  </a:lnTo>
                  <a:lnTo>
                    <a:pt x="266" y="22"/>
                  </a:lnTo>
                  <a:lnTo>
                    <a:pt x="256" y="24"/>
                  </a:lnTo>
                  <a:lnTo>
                    <a:pt x="250" y="26"/>
                  </a:lnTo>
                  <a:lnTo>
                    <a:pt x="246" y="34"/>
                  </a:lnTo>
                  <a:lnTo>
                    <a:pt x="234" y="44"/>
                  </a:lnTo>
                  <a:lnTo>
                    <a:pt x="232" y="52"/>
                  </a:lnTo>
                  <a:lnTo>
                    <a:pt x="222" y="54"/>
                  </a:lnTo>
                  <a:lnTo>
                    <a:pt x="214" y="52"/>
                  </a:lnTo>
                  <a:lnTo>
                    <a:pt x="208" y="52"/>
                  </a:lnTo>
                  <a:lnTo>
                    <a:pt x="212" y="60"/>
                  </a:lnTo>
                  <a:lnTo>
                    <a:pt x="218" y="64"/>
                  </a:lnTo>
                  <a:lnTo>
                    <a:pt x="214" y="70"/>
                  </a:lnTo>
                  <a:lnTo>
                    <a:pt x="204" y="70"/>
                  </a:lnTo>
                  <a:lnTo>
                    <a:pt x="200" y="66"/>
                  </a:lnTo>
                  <a:lnTo>
                    <a:pt x="196" y="72"/>
                  </a:lnTo>
                  <a:lnTo>
                    <a:pt x="190" y="78"/>
                  </a:lnTo>
                  <a:lnTo>
                    <a:pt x="196" y="88"/>
                  </a:lnTo>
                  <a:lnTo>
                    <a:pt x="202" y="100"/>
                  </a:lnTo>
                  <a:lnTo>
                    <a:pt x="208" y="102"/>
                  </a:lnTo>
                  <a:lnTo>
                    <a:pt x="214" y="110"/>
                  </a:lnTo>
                  <a:lnTo>
                    <a:pt x="230" y="116"/>
                  </a:lnTo>
                  <a:lnTo>
                    <a:pt x="240" y="108"/>
                  </a:lnTo>
                  <a:lnTo>
                    <a:pt x="242" y="98"/>
                  </a:lnTo>
                  <a:lnTo>
                    <a:pt x="252" y="94"/>
                  </a:lnTo>
                  <a:lnTo>
                    <a:pt x="258" y="100"/>
                  </a:lnTo>
                  <a:lnTo>
                    <a:pt x="260" y="112"/>
                  </a:lnTo>
                  <a:lnTo>
                    <a:pt x="264" y="116"/>
                  </a:lnTo>
                  <a:lnTo>
                    <a:pt x="270" y="118"/>
                  </a:lnTo>
                  <a:lnTo>
                    <a:pt x="268" y="130"/>
                  </a:lnTo>
                  <a:lnTo>
                    <a:pt x="278" y="130"/>
                  </a:lnTo>
                  <a:lnTo>
                    <a:pt x="288" y="132"/>
                  </a:lnTo>
                  <a:lnTo>
                    <a:pt x="292" y="140"/>
                  </a:lnTo>
                  <a:lnTo>
                    <a:pt x="286" y="142"/>
                  </a:lnTo>
                  <a:lnTo>
                    <a:pt x="280" y="144"/>
                  </a:lnTo>
                  <a:lnTo>
                    <a:pt x="278" y="152"/>
                  </a:lnTo>
                  <a:lnTo>
                    <a:pt x="282" y="158"/>
                  </a:lnTo>
                  <a:lnTo>
                    <a:pt x="282" y="174"/>
                  </a:lnTo>
                  <a:lnTo>
                    <a:pt x="288" y="188"/>
                  </a:lnTo>
                  <a:lnTo>
                    <a:pt x="282" y="192"/>
                  </a:lnTo>
                  <a:lnTo>
                    <a:pt x="280" y="204"/>
                  </a:lnTo>
                  <a:lnTo>
                    <a:pt x="280" y="214"/>
                  </a:lnTo>
                  <a:lnTo>
                    <a:pt x="280" y="246"/>
                  </a:lnTo>
                  <a:lnTo>
                    <a:pt x="268" y="258"/>
                  </a:lnTo>
                  <a:lnTo>
                    <a:pt x="260" y="267"/>
                  </a:lnTo>
                  <a:lnTo>
                    <a:pt x="260" y="281"/>
                  </a:lnTo>
                  <a:lnTo>
                    <a:pt x="248" y="291"/>
                  </a:lnTo>
                  <a:lnTo>
                    <a:pt x="240" y="297"/>
                  </a:lnTo>
                  <a:lnTo>
                    <a:pt x="242" y="303"/>
                  </a:lnTo>
                  <a:lnTo>
                    <a:pt x="246" y="313"/>
                  </a:lnTo>
                  <a:lnTo>
                    <a:pt x="234" y="315"/>
                  </a:lnTo>
                  <a:lnTo>
                    <a:pt x="224" y="309"/>
                  </a:lnTo>
                  <a:lnTo>
                    <a:pt x="218" y="305"/>
                  </a:lnTo>
                  <a:lnTo>
                    <a:pt x="214" y="309"/>
                  </a:lnTo>
                  <a:lnTo>
                    <a:pt x="210" y="305"/>
                  </a:lnTo>
                  <a:lnTo>
                    <a:pt x="204" y="311"/>
                  </a:lnTo>
                  <a:lnTo>
                    <a:pt x="196" y="313"/>
                  </a:lnTo>
                  <a:lnTo>
                    <a:pt x="182" y="305"/>
                  </a:lnTo>
                  <a:lnTo>
                    <a:pt x="172" y="307"/>
                  </a:lnTo>
                  <a:lnTo>
                    <a:pt x="166" y="311"/>
                  </a:lnTo>
                  <a:lnTo>
                    <a:pt x="166" y="317"/>
                  </a:lnTo>
                  <a:lnTo>
                    <a:pt x="148" y="317"/>
                  </a:lnTo>
                  <a:lnTo>
                    <a:pt x="146" y="323"/>
                  </a:lnTo>
                  <a:lnTo>
                    <a:pt x="134" y="327"/>
                  </a:lnTo>
                  <a:lnTo>
                    <a:pt x="118" y="325"/>
                  </a:lnTo>
                  <a:lnTo>
                    <a:pt x="108" y="331"/>
                  </a:lnTo>
                  <a:lnTo>
                    <a:pt x="104" y="333"/>
                  </a:lnTo>
                  <a:lnTo>
                    <a:pt x="100" y="335"/>
                  </a:lnTo>
                  <a:lnTo>
                    <a:pt x="96" y="335"/>
                  </a:lnTo>
                  <a:lnTo>
                    <a:pt x="70" y="335"/>
                  </a:lnTo>
                  <a:lnTo>
                    <a:pt x="48" y="337"/>
                  </a:lnTo>
                  <a:lnTo>
                    <a:pt x="46" y="331"/>
                  </a:lnTo>
                  <a:lnTo>
                    <a:pt x="32" y="331"/>
                  </a:lnTo>
                  <a:lnTo>
                    <a:pt x="24" y="329"/>
                  </a:lnTo>
                  <a:lnTo>
                    <a:pt x="26" y="323"/>
                  </a:lnTo>
                  <a:lnTo>
                    <a:pt x="38" y="321"/>
                  </a:lnTo>
                  <a:lnTo>
                    <a:pt x="44" y="319"/>
                  </a:lnTo>
                  <a:lnTo>
                    <a:pt x="48" y="313"/>
                  </a:lnTo>
                  <a:lnTo>
                    <a:pt x="44" y="311"/>
                  </a:lnTo>
                  <a:lnTo>
                    <a:pt x="38" y="313"/>
                  </a:lnTo>
                  <a:lnTo>
                    <a:pt x="20" y="313"/>
                  </a:lnTo>
                  <a:lnTo>
                    <a:pt x="14" y="315"/>
                  </a:lnTo>
                  <a:lnTo>
                    <a:pt x="10" y="309"/>
                  </a:lnTo>
                  <a:lnTo>
                    <a:pt x="20" y="305"/>
                  </a:lnTo>
                  <a:lnTo>
                    <a:pt x="30" y="305"/>
                  </a:lnTo>
                  <a:lnTo>
                    <a:pt x="36" y="301"/>
                  </a:lnTo>
                  <a:lnTo>
                    <a:pt x="38" y="299"/>
                  </a:lnTo>
                  <a:lnTo>
                    <a:pt x="28" y="297"/>
                  </a:lnTo>
                  <a:lnTo>
                    <a:pt x="16" y="299"/>
                  </a:lnTo>
                  <a:lnTo>
                    <a:pt x="8" y="291"/>
                  </a:lnTo>
                  <a:lnTo>
                    <a:pt x="0" y="289"/>
                  </a:lnTo>
                  <a:lnTo>
                    <a:pt x="0" y="283"/>
                  </a:lnTo>
                  <a:lnTo>
                    <a:pt x="8" y="283"/>
                  </a:lnTo>
                  <a:lnTo>
                    <a:pt x="12" y="277"/>
                  </a:lnTo>
                  <a:lnTo>
                    <a:pt x="20" y="277"/>
                  </a:lnTo>
                  <a:lnTo>
                    <a:pt x="30" y="275"/>
                  </a:lnTo>
                  <a:lnTo>
                    <a:pt x="38" y="271"/>
                  </a:lnTo>
                  <a:lnTo>
                    <a:pt x="30" y="267"/>
                  </a:lnTo>
                  <a:lnTo>
                    <a:pt x="12" y="265"/>
                  </a:lnTo>
                  <a:lnTo>
                    <a:pt x="2" y="260"/>
                  </a:lnTo>
                  <a:lnTo>
                    <a:pt x="6" y="250"/>
                  </a:lnTo>
                  <a:lnTo>
                    <a:pt x="16" y="246"/>
                  </a:lnTo>
                  <a:lnTo>
                    <a:pt x="26" y="252"/>
                  </a:lnTo>
                  <a:lnTo>
                    <a:pt x="38" y="258"/>
                  </a:lnTo>
                  <a:lnTo>
                    <a:pt x="44" y="248"/>
                  </a:lnTo>
                  <a:lnTo>
                    <a:pt x="44" y="240"/>
                  </a:lnTo>
                  <a:lnTo>
                    <a:pt x="60" y="240"/>
                  </a:lnTo>
                  <a:lnTo>
                    <a:pt x="58" y="230"/>
                  </a:lnTo>
                  <a:lnTo>
                    <a:pt x="66" y="230"/>
                  </a:lnTo>
                  <a:lnTo>
                    <a:pt x="72" y="226"/>
                  </a:lnTo>
                  <a:lnTo>
                    <a:pt x="62" y="224"/>
                  </a:lnTo>
                  <a:lnTo>
                    <a:pt x="56" y="222"/>
                  </a:lnTo>
                  <a:lnTo>
                    <a:pt x="66" y="216"/>
                  </a:lnTo>
                  <a:lnTo>
                    <a:pt x="84" y="204"/>
                  </a:lnTo>
                  <a:lnTo>
                    <a:pt x="82" y="194"/>
                  </a:lnTo>
                  <a:lnTo>
                    <a:pt x="94" y="184"/>
                  </a:lnTo>
                  <a:lnTo>
                    <a:pt x="108" y="188"/>
                  </a:lnTo>
                  <a:lnTo>
                    <a:pt x="114" y="182"/>
                  </a:lnTo>
                  <a:lnTo>
                    <a:pt x="114" y="174"/>
                  </a:lnTo>
                  <a:lnTo>
                    <a:pt x="106" y="174"/>
                  </a:lnTo>
                  <a:lnTo>
                    <a:pt x="94" y="172"/>
                  </a:lnTo>
                  <a:lnTo>
                    <a:pt x="84" y="170"/>
                  </a:lnTo>
                  <a:lnTo>
                    <a:pt x="80" y="160"/>
                  </a:lnTo>
                  <a:lnTo>
                    <a:pt x="80" y="154"/>
                  </a:lnTo>
                  <a:lnTo>
                    <a:pt x="68" y="156"/>
                  </a:lnTo>
                  <a:lnTo>
                    <a:pt x="70" y="148"/>
                  </a:lnTo>
                  <a:lnTo>
                    <a:pt x="62" y="148"/>
                  </a:lnTo>
                  <a:lnTo>
                    <a:pt x="58" y="140"/>
                  </a:lnTo>
                  <a:lnTo>
                    <a:pt x="56" y="130"/>
                  </a:lnTo>
                  <a:lnTo>
                    <a:pt x="70" y="130"/>
                  </a:lnTo>
                  <a:lnTo>
                    <a:pt x="74" y="126"/>
                  </a:lnTo>
                  <a:lnTo>
                    <a:pt x="76" y="114"/>
                  </a:lnTo>
                  <a:lnTo>
                    <a:pt x="84" y="112"/>
                  </a:lnTo>
                  <a:lnTo>
                    <a:pt x="92" y="114"/>
                  </a:lnTo>
                  <a:lnTo>
                    <a:pt x="94" y="108"/>
                  </a:lnTo>
                  <a:lnTo>
                    <a:pt x="90" y="102"/>
                  </a:lnTo>
                  <a:lnTo>
                    <a:pt x="78" y="102"/>
                  </a:lnTo>
                  <a:lnTo>
                    <a:pt x="74" y="96"/>
                  </a:lnTo>
                  <a:lnTo>
                    <a:pt x="68" y="92"/>
                  </a:lnTo>
                  <a:lnTo>
                    <a:pt x="64" y="86"/>
                  </a:lnTo>
                  <a:lnTo>
                    <a:pt x="72" y="84"/>
                  </a:lnTo>
                  <a:lnTo>
                    <a:pt x="76" y="88"/>
                  </a:lnTo>
                  <a:lnTo>
                    <a:pt x="80" y="92"/>
                  </a:lnTo>
                  <a:lnTo>
                    <a:pt x="84" y="84"/>
                  </a:lnTo>
                  <a:lnTo>
                    <a:pt x="84" y="72"/>
                  </a:lnTo>
                  <a:lnTo>
                    <a:pt x="80" y="70"/>
                  </a:lnTo>
                  <a:lnTo>
                    <a:pt x="76" y="76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84" y="6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7" name="Freeform 22"/>
            <p:cNvSpPr>
              <a:spLocks/>
            </p:cNvSpPr>
            <p:nvPr/>
          </p:nvSpPr>
          <p:spPr bwMode="gray">
            <a:xfrm>
              <a:off x="1058849" y="3606267"/>
              <a:ext cx="167256" cy="123080"/>
            </a:xfrm>
            <a:custGeom>
              <a:avLst/>
              <a:gdLst>
                <a:gd name="T0" fmla="*/ 70 w 152"/>
                <a:gd name="T1" fmla="*/ 6 h 118"/>
                <a:gd name="T2" fmla="*/ 84 w 152"/>
                <a:gd name="T3" fmla="*/ 2 h 118"/>
                <a:gd name="T4" fmla="*/ 92 w 152"/>
                <a:gd name="T5" fmla="*/ 0 h 118"/>
                <a:gd name="T6" fmla="*/ 122 w 152"/>
                <a:gd name="T7" fmla="*/ 0 h 118"/>
                <a:gd name="T8" fmla="*/ 132 w 152"/>
                <a:gd name="T9" fmla="*/ 8 h 118"/>
                <a:gd name="T10" fmla="*/ 136 w 152"/>
                <a:gd name="T11" fmla="*/ 22 h 118"/>
                <a:gd name="T12" fmla="*/ 138 w 152"/>
                <a:gd name="T13" fmla="*/ 36 h 118"/>
                <a:gd name="T14" fmla="*/ 146 w 152"/>
                <a:gd name="T15" fmla="*/ 46 h 118"/>
                <a:gd name="T16" fmla="*/ 144 w 152"/>
                <a:gd name="T17" fmla="*/ 54 h 118"/>
                <a:gd name="T18" fmla="*/ 138 w 152"/>
                <a:gd name="T19" fmla="*/ 60 h 118"/>
                <a:gd name="T20" fmla="*/ 150 w 152"/>
                <a:gd name="T21" fmla="*/ 66 h 118"/>
                <a:gd name="T22" fmla="*/ 152 w 152"/>
                <a:gd name="T23" fmla="*/ 78 h 118"/>
                <a:gd name="T24" fmla="*/ 146 w 152"/>
                <a:gd name="T25" fmla="*/ 80 h 118"/>
                <a:gd name="T26" fmla="*/ 144 w 152"/>
                <a:gd name="T27" fmla="*/ 84 h 118"/>
                <a:gd name="T28" fmla="*/ 142 w 152"/>
                <a:gd name="T29" fmla="*/ 96 h 118"/>
                <a:gd name="T30" fmla="*/ 126 w 152"/>
                <a:gd name="T31" fmla="*/ 102 h 118"/>
                <a:gd name="T32" fmla="*/ 124 w 152"/>
                <a:gd name="T33" fmla="*/ 106 h 118"/>
                <a:gd name="T34" fmla="*/ 108 w 152"/>
                <a:gd name="T35" fmla="*/ 118 h 118"/>
                <a:gd name="T36" fmla="*/ 98 w 152"/>
                <a:gd name="T37" fmla="*/ 108 h 118"/>
                <a:gd name="T38" fmla="*/ 78 w 152"/>
                <a:gd name="T39" fmla="*/ 106 h 118"/>
                <a:gd name="T40" fmla="*/ 74 w 152"/>
                <a:gd name="T41" fmla="*/ 92 h 118"/>
                <a:gd name="T42" fmla="*/ 68 w 152"/>
                <a:gd name="T43" fmla="*/ 76 h 118"/>
                <a:gd name="T44" fmla="*/ 52 w 152"/>
                <a:gd name="T45" fmla="*/ 74 h 118"/>
                <a:gd name="T46" fmla="*/ 40 w 152"/>
                <a:gd name="T47" fmla="*/ 92 h 118"/>
                <a:gd name="T48" fmla="*/ 18 w 152"/>
                <a:gd name="T49" fmla="*/ 78 h 118"/>
                <a:gd name="T50" fmla="*/ 0 w 152"/>
                <a:gd name="T51" fmla="*/ 54 h 118"/>
                <a:gd name="T52" fmla="*/ 10 w 152"/>
                <a:gd name="T53" fmla="*/ 42 h 118"/>
                <a:gd name="T54" fmla="*/ 24 w 152"/>
                <a:gd name="T55" fmla="*/ 46 h 118"/>
                <a:gd name="T56" fmla="*/ 22 w 152"/>
                <a:gd name="T57" fmla="*/ 36 h 118"/>
                <a:gd name="T58" fmla="*/ 26 w 152"/>
                <a:gd name="T59" fmla="*/ 28 h 118"/>
                <a:gd name="T60" fmla="*/ 42 w 152"/>
                <a:gd name="T61" fmla="*/ 28 h 118"/>
                <a:gd name="T62" fmla="*/ 56 w 152"/>
                <a:gd name="T63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2" h="118">
                  <a:moveTo>
                    <a:pt x="60" y="2"/>
                  </a:moveTo>
                  <a:lnTo>
                    <a:pt x="70" y="6"/>
                  </a:lnTo>
                  <a:lnTo>
                    <a:pt x="76" y="6"/>
                  </a:lnTo>
                  <a:lnTo>
                    <a:pt x="84" y="2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106" y="0"/>
                  </a:lnTo>
                  <a:lnTo>
                    <a:pt x="122" y="0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2" y="18"/>
                  </a:lnTo>
                  <a:lnTo>
                    <a:pt x="136" y="22"/>
                  </a:lnTo>
                  <a:lnTo>
                    <a:pt x="134" y="30"/>
                  </a:lnTo>
                  <a:lnTo>
                    <a:pt x="138" y="36"/>
                  </a:lnTo>
                  <a:lnTo>
                    <a:pt x="140" y="44"/>
                  </a:lnTo>
                  <a:lnTo>
                    <a:pt x="146" y="46"/>
                  </a:lnTo>
                  <a:lnTo>
                    <a:pt x="146" y="50"/>
                  </a:lnTo>
                  <a:lnTo>
                    <a:pt x="144" y="54"/>
                  </a:lnTo>
                  <a:lnTo>
                    <a:pt x="138" y="56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2" y="70"/>
                  </a:lnTo>
                  <a:lnTo>
                    <a:pt x="152" y="78"/>
                  </a:lnTo>
                  <a:lnTo>
                    <a:pt x="150" y="84"/>
                  </a:lnTo>
                  <a:lnTo>
                    <a:pt x="146" y="80"/>
                  </a:lnTo>
                  <a:lnTo>
                    <a:pt x="144" y="82"/>
                  </a:lnTo>
                  <a:lnTo>
                    <a:pt x="144" y="84"/>
                  </a:lnTo>
                  <a:lnTo>
                    <a:pt x="146" y="92"/>
                  </a:lnTo>
                  <a:lnTo>
                    <a:pt x="142" y="96"/>
                  </a:lnTo>
                  <a:lnTo>
                    <a:pt x="136" y="104"/>
                  </a:lnTo>
                  <a:lnTo>
                    <a:pt x="126" y="102"/>
                  </a:lnTo>
                  <a:lnTo>
                    <a:pt x="126" y="104"/>
                  </a:lnTo>
                  <a:lnTo>
                    <a:pt x="124" y="106"/>
                  </a:lnTo>
                  <a:lnTo>
                    <a:pt x="116" y="112"/>
                  </a:lnTo>
                  <a:lnTo>
                    <a:pt x="108" y="118"/>
                  </a:lnTo>
                  <a:lnTo>
                    <a:pt x="102" y="116"/>
                  </a:lnTo>
                  <a:lnTo>
                    <a:pt x="98" y="108"/>
                  </a:lnTo>
                  <a:lnTo>
                    <a:pt x="88" y="106"/>
                  </a:lnTo>
                  <a:lnTo>
                    <a:pt x="78" y="106"/>
                  </a:lnTo>
                  <a:lnTo>
                    <a:pt x="80" y="94"/>
                  </a:lnTo>
                  <a:lnTo>
                    <a:pt x="74" y="92"/>
                  </a:lnTo>
                  <a:lnTo>
                    <a:pt x="70" y="88"/>
                  </a:lnTo>
                  <a:lnTo>
                    <a:pt x="68" y="76"/>
                  </a:lnTo>
                  <a:lnTo>
                    <a:pt x="62" y="70"/>
                  </a:lnTo>
                  <a:lnTo>
                    <a:pt x="52" y="74"/>
                  </a:lnTo>
                  <a:lnTo>
                    <a:pt x="50" y="84"/>
                  </a:lnTo>
                  <a:lnTo>
                    <a:pt x="40" y="92"/>
                  </a:lnTo>
                  <a:lnTo>
                    <a:pt x="24" y="86"/>
                  </a:lnTo>
                  <a:lnTo>
                    <a:pt x="18" y="78"/>
                  </a:lnTo>
                  <a:lnTo>
                    <a:pt x="12" y="76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46"/>
                  </a:lnTo>
                  <a:lnTo>
                    <a:pt x="24" y="46"/>
                  </a:lnTo>
                  <a:lnTo>
                    <a:pt x="28" y="40"/>
                  </a:lnTo>
                  <a:lnTo>
                    <a:pt x="22" y="36"/>
                  </a:lnTo>
                  <a:lnTo>
                    <a:pt x="18" y="28"/>
                  </a:lnTo>
                  <a:lnTo>
                    <a:pt x="26" y="28"/>
                  </a:lnTo>
                  <a:lnTo>
                    <a:pt x="32" y="30"/>
                  </a:lnTo>
                  <a:lnTo>
                    <a:pt x="42" y="28"/>
                  </a:lnTo>
                  <a:lnTo>
                    <a:pt x="44" y="20"/>
                  </a:lnTo>
                  <a:lnTo>
                    <a:pt x="56" y="10"/>
                  </a:lnTo>
                  <a:lnTo>
                    <a:pt x="60" y="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8" name="Freeform 23"/>
            <p:cNvSpPr>
              <a:spLocks/>
            </p:cNvSpPr>
            <p:nvPr/>
          </p:nvSpPr>
          <p:spPr bwMode="gray">
            <a:xfrm>
              <a:off x="1738577" y="3888548"/>
              <a:ext cx="262256" cy="266227"/>
            </a:xfrm>
            <a:custGeom>
              <a:avLst/>
              <a:gdLst>
                <a:gd name="T0" fmla="*/ 14 w 240"/>
                <a:gd name="T1" fmla="*/ 184 h 256"/>
                <a:gd name="T2" fmla="*/ 36 w 240"/>
                <a:gd name="T3" fmla="*/ 190 h 256"/>
                <a:gd name="T4" fmla="*/ 56 w 240"/>
                <a:gd name="T5" fmla="*/ 178 h 256"/>
                <a:gd name="T6" fmla="*/ 50 w 240"/>
                <a:gd name="T7" fmla="*/ 166 h 256"/>
                <a:gd name="T8" fmla="*/ 32 w 240"/>
                <a:gd name="T9" fmla="*/ 160 h 256"/>
                <a:gd name="T10" fmla="*/ 34 w 240"/>
                <a:gd name="T11" fmla="*/ 152 h 256"/>
                <a:gd name="T12" fmla="*/ 56 w 240"/>
                <a:gd name="T13" fmla="*/ 162 h 256"/>
                <a:gd name="T14" fmla="*/ 60 w 240"/>
                <a:gd name="T15" fmla="*/ 156 h 256"/>
                <a:gd name="T16" fmla="*/ 46 w 240"/>
                <a:gd name="T17" fmla="*/ 134 h 256"/>
                <a:gd name="T18" fmla="*/ 68 w 240"/>
                <a:gd name="T19" fmla="*/ 112 h 256"/>
                <a:gd name="T20" fmla="*/ 84 w 240"/>
                <a:gd name="T21" fmla="*/ 74 h 256"/>
                <a:gd name="T22" fmla="*/ 94 w 240"/>
                <a:gd name="T23" fmla="*/ 52 h 256"/>
                <a:gd name="T24" fmla="*/ 104 w 240"/>
                <a:gd name="T25" fmla="*/ 44 h 256"/>
                <a:gd name="T26" fmla="*/ 116 w 240"/>
                <a:gd name="T27" fmla="*/ 48 h 256"/>
                <a:gd name="T28" fmla="*/ 128 w 240"/>
                <a:gd name="T29" fmla="*/ 66 h 256"/>
                <a:gd name="T30" fmla="*/ 114 w 240"/>
                <a:gd name="T31" fmla="*/ 74 h 256"/>
                <a:gd name="T32" fmla="*/ 112 w 240"/>
                <a:gd name="T33" fmla="*/ 88 h 256"/>
                <a:gd name="T34" fmla="*/ 122 w 240"/>
                <a:gd name="T35" fmla="*/ 92 h 256"/>
                <a:gd name="T36" fmla="*/ 144 w 240"/>
                <a:gd name="T37" fmla="*/ 76 h 256"/>
                <a:gd name="T38" fmla="*/ 148 w 240"/>
                <a:gd name="T39" fmla="*/ 54 h 256"/>
                <a:gd name="T40" fmla="*/ 124 w 240"/>
                <a:gd name="T41" fmla="*/ 34 h 256"/>
                <a:gd name="T42" fmla="*/ 150 w 240"/>
                <a:gd name="T43" fmla="*/ 10 h 256"/>
                <a:gd name="T44" fmla="*/ 196 w 240"/>
                <a:gd name="T45" fmla="*/ 0 h 256"/>
                <a:gd name="T46" fmla="*/ 224 w 240"/>
                <a:gd name="T47" fmla="*/ 8 h 256"/>
                <a:gd name="T48" fmla="*/ 240 w 240"/>
                <a:gd name="T49" fmla="*/ 48 h 256"/>
                <a:gd name="T50" fmla="*/ 214 w 240"/>
                <a:gd name="T51" fmla="*/ 76 h 256"/>
                <a:gd name="T52" fmla="*/ 226 w 240"/>
                <a:gd name="T53" fmla="*/ 116 h 256"/>
                <a:gd name="T54" fmla="*/ 214 w 240"/>
                <a:gd name="T55" fmla="*/ 142 h 256"/>
                <a:gd name="T56" fmla="*/ 174 w 240"/>
                <a:gd name="T57" fmla="*/ 148 h 256"/>
                <a:gd name="T58" fmla="*/ 176 w 240"/>
                <a:gd name="T59" fmla="*/ 182 h 256"/>
                <a:gd name="T60" fmla="*/ 168 w 240"/>
                <a:gd name="T61" fmla="*/ 220 h 256"/>
                <a:gd name="T62" fmla="*/ 164 w 240"/>
                <a:gd name="T63" fmla="*/ 242 h 256"/>
                <a:gd name="T64" fmla="*/ 140 w 240"/>
                <a:gd name="T65" fmla="*/ 256 h 256"/>
                <a:gd name="T66" fmla="*/ 144 w 240"/>
                <a:gd name="T67" fmla="*/ 240 h 256"/>
                <a:gd name="T68" fmla="*/ 152 w 240"/>
                <a:gd name="T69" fmla="*/ 224 h 256"/>
                <a:gd name="T70" fmla="*/ 146 w 240"/>
                <a:gd name="T71" fmla="*/ 214 h 256"/>
                <a:gd name="T72" fmla="*/ 122 w 240"/>
                <a:gd name="T73" fmla="*/ 208 h 256"/>
                <a:gd name="T74" fmla="*/ 108 w 240"/>
                <a:gd name="T75" fmla="*/ 200 h 256"/>
                <a:gd name="T76" fmla="*/ 104 w 240"/>
                <a:gd name="T77" fmla="*/ 184 h 256"/>
                <a:gd name="T78" fmla="*/ 94 w 240"/>
                <a:gd name="T79" fmla="*/ 192 h 256"/>
                <a:gd name="T80" fmla="*/ 88 w 240"/>
                <a:gd name="T81" fmla="*/ 182 h 256"/>
                <a:gd name="T82" fmla="*/ 78 w 240"/>
                <a:gd name="T83" fmla="*/ 186 h 256"/>
                <a:gd name="T84" fmla="*/ 66 w 240"/>
                <a:gd name="T85" fmla="*/ 184 h 256"/>
                <a:gd name="T86" fmla="*/ 52 w 240"/>
                <a:gd name="T87" fmla="*/ 198 h 256"/>
                <a:gd name="T88" fmla="*/ 34 w 240"/>
                <a:gd name="T89" fmla="*/ 206 h 256"/>
                <a:gd name="T90" fmla="*/ 16 w 240"/>
                <a:gd name="T91" fmla="*/ 196 h 256"/>
                <a:gd name="T92" fmla="*/ 0 w 240"/>
                <a:gd name="T93" fmla="*/ 19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0" h="256">
                  <a:moveTo>
                    <a:pt x="0" y="188"/>
                  </a:moveTo>
                  <a:lnTo>
                    <a:pt x="6" y="186"/>
                  </a:lnTo>
                  <a:lnTo>
                    <a:pt x="14" y="184"/>
                  </a:lnTo>
                  <a:lnTo>
                    <a:pt x="18" y="188"/>
                  </a:lnTo>
                  <a:lnTo>
                    <a:pt x="26" y="190"/>
                  </a:lnTo>
                  <a:lnTo>
                    <a:pt x="36" y="190"/>
                  </a:lnTo>
                  <a:lnTo>
                    <a:pt x="48" y="192"/>
                  </a:lnTo>
                  <a:lnTo>
                    <a:pt x="54" y="182"/>
                  </a:lnTo>
                  <a:lnTo>
                    <a:pt x="56" y="178"/>
                  </a:lnTo>
                  <a:lnTo>
                    <a:pt x="50" y="174"/>
                  </a:lnTo>
                  <a:lnTo>
                    <a:pt x="46" y="170"/>
                  </a:lnTo>
                  <a:lnTo>
                    <a:pt x="50" y="166"/>
                  </a:lnTo>
                  <a:lnTo>
                    <a:pt x="42" y="166"/>
                  </a:lnTo>
                  <a:lnTo>
                    <a:pt x="36" y="164"/>
                  </a:lnTo>
                  <a:lnTo>
                    <a:pt x="32" y="160"/>
                  </a:lnTo>
                  <a:lnTo>
                    <a:pt x="24" y="160"/>
                  </a:lnTo>
                  <a:lnTo>
                    <a:pt x="26" y="152"/>
                  </a:lnTo>
                  <a:lnTo>
                    <a:pt x="34" y="152"/>
                  </a:lnTo>
                  <a:lnTo>
                    <a:pt x="42" y="156"/>
                  </a:lnTo>
                  <a:lnTo>
                    <a:pt x="50" y="160"/>
                  </a:lnTo>
                  <a:lnTo>
                    <a:pt x="56" y="162"/>
                  </a:lnTo>
                  <a:lnTo>
                    <a:pt x="64" y="162"/>
                  </a:lnTo>
                  <a:lnTo>
                    <a:pt x="68" y="158"/>
                  </a:lnTo>
                  <a:lnTo>
                    <a:pt x="60" y="156"/>
                  </a:lnTo>
                  <a:lnTo>
                    <a:pt x="52" y="150"/>
                  </a:lnTo>
                  <a:lnTo>
                    <a:pt x="46" y="144"/>
                  </a:lnTo>
                  <a:lnTo>
                    <a:pt x="46" y="134"/>
                  </a:lnTo>
                  <a:lnTo>
                    <a:pt x="52" y="130"/>
                  </a:lnTo>
                  <a:lnTo>
                    <a:pt x="58" y="122"/>
                  </a:lnTo>
                  <a:lnTo>
                    <a:pt x="68" y="112"/>
                  </a:lnTo>
                  <a:lnTo>
                    <a:pt x="78" y="94"/>
                  </a:lnTo>
                  <a:lnTo>
                    <a:pt x="84" y="86"/>
                  </a:lnTo>
                  <a:lnTo>
                    <a:pt x="84" y="74"/>
                  </a:lnTo>
                  <a:lnTo>
                    <a:pt x="90" y="68"/>
                  </a:lnTo>
                  <a:lnTo>
                    <a:pt x="90" y="58"/>
                  </a:lnTo>
                  <a:lnTo>
                    <a:pt x="94" y="52"/>
                  </a:lnTo>
                  <a:lnTo>
                    <a:pt x="94" y="42"/>
                  </a:lnTo>
                  <a:lnTo>
                    <a:pt x="100" y="42"/>
                  </a:lnTo>
                  <a:lnTo>
                    <a:pt x="104" y="44"/>
                  </a:lnTo>
                  <a:lnTo>
                    <a:pt x="110" y="46"/>
                  </a:lnTo>
                  <a:lnTo>
                    <a:pt x="116" y="42"/>
                  </a:lnTo>
                  <a:lnTo>
                    <a:pt x="116" y="48"/>
                  </a:lnTo>
                  <a:lnTo>
                    <a:pt x="116" y="56"/>
                  </a:lnTo>
                  <a:lnTo>
                    <a:pt x="124" y="62"/>
                  </a:lnTo>
                  <a:lnTo>
                    <a:pt x="128" y="66"/>
                  </a:lnTo>
                  <a:lnTo>
                    <a:pt x="126" y="70"/>
                  </a:lnTo>
                  <a:lnTo>
                    <a:pt x="120" y="74"/>
                  </a:lnTo>
                  <a:lnTo>
                    <a:pt x="114" y="74"/>
                  </a:lnTo>
                  <a:lnTo>
                    <a:pt x="112" y="76"/>
                  </a:lnTo>
                  <a:lnTo>
                    <a:pt x="112" y="82"/>
                  </a:lnTo>
                  <a:lnTo>
                    <a:pt x="112" y="88"/>
                  </a:lnTo>
                  <a:lnTo>
                    <a:pt x="110" y="96"/>
                  </a:lnTo>
                  <a:lnTo>
                    <a:pt x="116" y="98"/>
                  </a:lnTo>
                  <a:lnTo>
                    <a:pt x="122" y="92"/>
                  </a:lnTo>
                  <a:lnTo>
                    <a:pt x="132" y="88"/>
                  </a:lnTo>
                  <a:lnTo>
                    <a:pt x="138" y="80"/>
                  </a:lnTo>
                  <a:lnTo>
                    <a:pt x="144" y="76"/>
                  </a:lnTo>
                  <a:lnTo>
                    <a:pt x="148" y="70"/>
                  </a:lnTo>
                  <a:lnTo>
                    <a:pt x="148" y="60"/>
                  </a:lnTo>
                  <a:lnTo>
                    <a:pt x="148" y="54"/>
                  </a:lnTo>
                  <a:lnTo>
                    <a:pt x="142" y="46"/>
                  </a:lnTo>
                  <a:lnTo>
                    <a:pt x="136" y="38"/>
                  </a:lnTo>
                  <a:lnTo>
                    <a:pt x="124" y="34"/>
                  </a:lnTo>
                  <a:lnTo>
                    <a:pt x="134" y="28"/>
                  </a:lnTo>
                  <a:lnTo>
                    <a:pt x="138" y="16"/>
                  </a:lnTo>
                  <a:lnTo>
                    <a:pt x="150" y="10"/>
                  </a:lnTo>
                  <a:lnTo>
                    <a:pt x="168" y="4"/>
                  </a:lnTo>
                  <a:lnTo>
                    <a:pt x="182" y="2"/>
                  </a:lnTo>
                  <a:lnTo>
                    <a:pt x="196" y="0"/>
                  </a:lnTo>
                  <a:lnTo>
                    <a:pt x="210" y="0"/>
                  </a:lnTo>
                  <a:lnTo>
                    <a:pt x="220" y="0"/>
                  </a:lnTo>
                  <a:lnTo>
                    <a:pt x="224" y="8"/>
                  </a:lnTo>
                  <a:lnTo>
                    <a:pt x="236" y="16"/>
                  </a:lnTo>
                  <a:lnTo>
                    <a:pt x="240" y="20"/>
                  </a:lnTo>
                  <a:lnTo>
                    <a:pt x="240" y="48"/>
                  </a:lnTo>
                  <a:lnTo>
                    <a:pt x="232" y="60"/>
                  </a:lnTo>
                  <a:lnTo>
                    <a:pt x="232" y="76"/>
                  </a:lnTo>
                  <a:lnTo>
                    <a:pt x="214" y="76"/>
                  </a:lnTo>
                  <a:lnTo>
                    <a:pt x="210" y="92"/>
                  </a:lnTo>
                  <a:lnTo>
                    <a:pt x="228" y="100"/>
                  </a:lnTo>
                  <a:lnTo>
                    <a:pt x="226" y="116"/>
                  </a:lnTo>
                  <a:lnTo>
                    <a:pt x="216" y="128"/>
                  </a:lnTo>
                  <a:lnTo>
                    <a:pt x="208" y="132"/>
                  </a:lnTo>
                  <a:lnTo>
                    <a:pt x="214" y="142"/>
                  </a:lnTo>
                  <a:lnTo>
                    <a:pt x="210" y="148"/>
                  </a:lnTo>
                  <a:lnTo>
                    <a:pt x="198" y="150"/>
                  </a:lnTo>
                  <a:lnTo>
                    <a:pt x="174" y="148"/>
                  </a:lnTo>
                  <a:lnTo>
                    <a:pt x="164" y="150"/>
                  </a:lnTo>
                  <a:lnTo>
                    <a:pt x="166" y="172"/>
                  </a:lnTo>
                  <a:lnTo>
                    <a:pt x="176" y="182"/>
                  </a:lnTo>
                  <a:lnTo>
                    <a:pt x="176" y="200"/>
                  </a:lnTo>
                  <a:lnTo>
                    <a:pt x="166" y="212"/>
                  </a:lnTo>
                  <a:lnTo>
                    <a:pt x="168" y="220"/>
                  </a:lnTo>
                  <a:lnTo>
                    <a:pt x="154" y="230"/>
                  </a:lnTo>
                  <a:lnTo>
                    <a:pt x="158" y="236"/>
                  </a:lnTo>
                  <a:lnTo>
                    <a:pt x="164" y="242"/>
                  </a:lnTo>
                  <a:lnTo>
                    <a:pt x="160" y="256"/>
                  </a:lnTo>
                  <a:lnTo>
                    <a:pt x="150" y="256"/>
                  </a:lnTo>
                  <a:lnTo>
                    <a:pt x="140" y="256"/>
                  </a:lnTo>
                  <a:lnTo>
                    <a:pt x="138" y="250"/>
                  </a:lnTo>
                  <a:lnTo>
                    <a:pt x="138" y="246"/>
                  </a:lnTo>
                  <a:lnTo>
                    <a:pt x="144" y="240"/>
                  </a:lnTo>
                  <a:lnTo>
                    <a:pt x="146" y="236"/>
                  </a:lnTo>
                  <a:lnTo>
                    <a:pt x="146" y="228"/>
                  </a:lnTo>
                  <a:lnTo>
                    <a:pt x="152" y="224"/>
                  </a:lnTo>
                  <a:lnTo>
                    <a:pt x="152" y="220"/>
                  </a:lnTo>
                  <a:lnTo>
                    <a:pt x="150" y="216"/>
                  </a:lnTo>
                  <a:lnTo>
                    <a:pt x="146" y="214"/>
                  </a:lnTo>
                  <a:lnTo>
                    <a:pt x="136" y="214"/>
                  </a:lnTo>
                  <a:lnTo>
                    <a:pt x="134" y="208"/>
                  </a:lnTo>
                  <a:lnTo>
                    <a:pt x="122" y="208"/>
                  </a:lnTo>
                  <a:lnTo>
                    <a:pt x="112" y="206"/>
                  </a:lnTo>
                  <a:lnTo>
                    <a:pt x="114" y="200"/>
                  </a:lnTo>
                  <a:lnTo>
                    <a:pt x="108" y="200"/>
                  </a:lnTo>
                  <a:lnTo>
                    <a:pt x="106" y="194"/>
                  </a:lnTo>
                  <a:lnTo>
                    <a:pt x="106" y="188"/>
                  </a:lnTo>
                  <a:lnTo>
                    <a:pt x="104" y="184"/>
                  </a:lnTo>
                  <a:lnTo>
                    <a:pt x="102" y="184"/>
                  </a:lnTo>
                  <a:lnTo>
                    <a:pt x="100" y="190"/>
                  </a:lnTo>
                  <a:lnTo>
                    <a:pt x="94" y="192"/>
                  </a:lnTo>
                  <a:lnTo>
                    <a:pt x="92" y="190"/>
                  </a:lnTo>
                  <a:lnTo>
                    <a:pt x="92" y="184"/>
                  </a:lnTo>
                  <a:lnTo>
                    <a:pt x="88" y="182"/>
                  </a:lnTo>
                  <a:lnTo>
                    <a:pt x="84" y="182"/>
                  </a:lnTo>
                  <a:lnTo>
                    <a:pt x="82" y="186"/>
                  </a:lnTo>
                  <a:lnTo>
                    <a:pt x="78" y="186"/>
                  </a:lnTo>
                  <a:lnTo>
                    <a:pt x="78" y="182"/>
                  </a:lnTo>
                  <a:lnTo>
                    <a:pt x="72" y="182"/>
                  </a:lnTo>
                  <a:lnTo>
                    <a:pt x="66" y="184"/>
                  </a:lnTo>
                  <a:lnTo>
                    <a:pt x="66" y="192"/>
                  </a:lnTo>
                  <a:lnTo>
                    <a:pt x="56" y="192"/>
                  </a:lnTo>
                  <a:lnTo>
                    <a:pt x="52" y="198"/>
                  </a:lnTo>
                  <a:lnTo>
                    <a:pt x="48" y="198"/>
                  </a:lnTo>
                  <a:lnTo>
                    <a:pt x="42" y="204"/>
                  </a:lnTo>
                  <a:lnTo>
                    <a:pt x="34" y="206"/>
                  </a:lnTo>
                  <a:lnTo>
                    <a:pt x="28" y="202"/>
                  </a:lnTo>
                  <a:lnTo>
                    <a:pt x="26" y="198"/>
                  </a:lnTo>
                  <a:lnTo>
                    <a:pt x="16" y="196"/>
                  </a:lnTo>
                  <a:lnTo>
                    <a:pt x="10" y="198"/>
                  </a:lnTo>
                  <a:lnTo>
                    <a:pt x="4" y="200"/>
                  </a:lnTo>
                  <a:lnTo>
                    <a:pt x="0" y="196"/>
                  </a:lnTo>
                  <a:lnTo>
                    <a:pt x="0" y="188"/>
                  </a:lnTo>
                  <a:close/>
                </a:path>
              </a:pathLst>
            </a:custGeom>
            <a:solidFill>
              <a:srgbClr val="7030A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9" name="Freeform 24"/>
            <p:cNvSpPr>
              <a:spLocks/>
            </p:cNvSpPr>
            <p:nvPr/>
          </p:nvSpPr>
          <p:spPr bwMode="gray">
            <a:xfrm>
              <a:off x="1683796" y="4078519"/>
              <a:ext cx="251553" cy="202011"/>
            </a:xfrm>
            <a:custGeom>
              <a:avLst/>
              <a:gdLst>
                <a:gd name="T0" fmla="*/ 12 w 230"/>
                <a:gd name="T1" fmla="*/ 24 h 194"/>
                <a:gd name="T2" fmla="*/ 38 w 230"/>
                <a:gd name="T3" fmla="*/ 8 h 194"/>
                <a:gd name="T4" fmla="*/ 50 w 230"/>
                <a:gd name="T5" fmla="*/ 14 h 194"/>
                <a:gd name="T6" fmla="*/ 60 w 230"/>
                <a:gd name="T7" fmla="*/ 16 h 194"/>
                <a:gd name="T8" fmla="*/ 76 w 230"/>
                <a:gd name="T9" fmla="*/ 16 h 194"/>
                <a:gd name="T10" fmla="*/ 84 w 230"/>
                <a:gd name="T11" fmla="*/ 24 h 194"/>
                <a:gd name="T12" fmla="*/ 98 w 230"/>
                <a:gd name="T13" fmla="*/ 16 h 194"/>
                <a:gd name="T14" fmla="*/ 106 w 230"/>
                <a:gd name="T15" fmla="*/ 10 h 194"/>
                <a:gd name="T16" fmla="*/ 116 w 230"/>
                <a:gd name="T17" fmla="*/ 2 h 194"/>
                <a:gd name="T18" fmla="*/ 128 w 230"/>
                <a:gd name="T19" fmla="*/ 4 h 194"/>
                <a:gd name="T20" fmla="*/ 134 w 230"/>
                <a:gd name="T21" fmla="*/ 0 h 194"/>
                <a:gd name="T22" fmla="*/ 142 w 230"/>
                <a:gd name="T23" fmla="*/ 2 h 194"/>
                <a:gd name="T24" fmla="*/ 144 w 230"/>
                <a:gd name="T25" fmla="*/ 10 h 194"/>
                <a:gd name="T26" fmla="*/ 152 w 230"/>
                <a:gd name="T27" fmla="*/ 2 h 194"/>
                <a:gd name="T28" fmla="*/ 156 w 230"/>
                <a:gd name="T29" fmla="*/ 6 h 194"/>
                <a:gd name="T30" fmla="*/ 158 w 230"/>
                <a:gd name="T31" fmla="*/ 18 h 194"/>
                <a:gd name="T32" fmla="*/ 162 w 230"/>
                <a:gd name="T33" fmla="*/ 24 h 194"/>
                <a:gd name="T34" fmla="*/ 184 w 230"/>
                <a:gd name="T35" fmla="*/ 26 h 194"/>
                <a:gd name="T36" fmla="*/ 196 w 230"/>
                <a:gd name="T37" fmla="*/ 32 h 194"/>
                <a:gd name="T38" fmla="*/ 202 w 230"/>
                <a:gd name="T39" fmla="*/ 38 h 194"/>
                <a:gd name="T40" fmla="*/ 196 w 230"/>
                <a:gd name="T41" fmla="*/ 46 h 194"/>
                <a:gd name="T42" fmla="*/ 194 w 230"/>
                <a:gd name="T43" fmla="*/ 58 h 194"/>
                <a:gd name="T44" fmla="*/ 188 w 230"/>
                <a:gd name="T45" fmla="*/ 68 h 194"/>
                <a:gd name="T46" fmla="*/ 210 w 230"/>
                <a:gd name="T47" fmla="*/ 74 h 194"/>
                <a:gd name="T48" fmla="*/ 218 w 230"/>
                <a:gd name="T49" fmla="*/ 98 h 194"/>
                <a:gd name="T50" fmla="*/ 230 w 230"/>
                <a:gd name="T51" fmla="*/ 120 h 194"/>
                <a:gd name="T52" fmla="*/ 200 w 230"/>
                <a:gd name="T53" fmla="*/ 132 h 194"/>
                <a:gd name="T54" fmla="*/ 188 w 230"/>
                <a:gd name="T55" fmla="*/ 162 h 194"/>
                <a:gd name="T56" fmla="*/ 196 w 230"/>
                <a:gd name="T57" fmla="*/ 180 h 194"/>
                <a:gd name="T58" fmla="*/ 192 w 230"/>
                <a:gd name="T59" fmla="*/ 194 h 194"/>
                <a:gd name="T60" fmla="*/ 164 w 230"/>
                <a:gd name="T61" fmla="*/ 180 h 194"/>
                <a:gd name="T62" fmla="*/ 132 w 230"/>
                <a:gd name="T63" fmla="*/ 162 h 194"/>
                <a:gd name="T64" fmla="*/ 136 w 230"/>
                <a:gd name="T65" fmla="*/ 136 h 194"/>
                <a:gd name="T66" fmla="*/ 124 w 230"/>
                <a:gd name="T67" fmla="*/ 134 h 194"/>
                <a:gd name="T68" fmla="*/ 120 w 230"/>
                <a:gd name="T69" fmla="*/ 146 h 194"/>
                <a:gd name="T70" fmla="*/ 92 w 230"/>
                <a:gd name="T71" fmla="*/ 146 h 194"/>
                <a:gd name="T72" fmla="*/ 96 w 230"/>
                <a:gd name="T73" fmla="*/ 132 h 194"/>
                <a:gd name="T74" fmla="*/ 94 w 230"/>
                <a:gd name="T75" fmla="*/ 116 h 194"/>
                <a:gd name="T76" fmla="*/ 64 w 230"/>
                <a:gd name="T77" fmla="*/ 106 h 194"/>
                <a:gd name="T78" fmla="*/ 54 w 230"/>
                <a:gd name="T79" fmla="*/ 86 h 194"/>
                <a:gd name="T80" fmla="*/ 40 w 230"/>
                <a:gd name="T81" fmla="*/ 76 h 194"/>
                <a:gd name="T82" fmla="*/ 22 w 230"/>
                <a:gd name="T83" fmla="*/ 60 h 194"/>
                <a:gd name="T84" fmla="*/ 6 w 230"/>
                <a:gd name="T85" fmla="*/ 46 h 194"/>
                <a:gd name="T86" fmla="*/ 2 w 230"/>
                <a:gd name="T87" fmla="*/ 36 h 194"/>
                <a:gd name="T88" fmla="*/ 0 w 230"/>
                <a:gd name="T89" fmla="*/ 2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0" h="194">
                  <a:moveTo>
                    <a:pt x="0" y="28"/>
                  </a:moveTo>
                  <a:lnTo>
                    <a:pt x="12" y="24"/>
                  </a:lnTo>
                  <a:lnTo>
                    <a:pt x="26" y="16"/>
                  </a:lnTo>
                  <a:lnTo>
                    <a:pt x="38" y="8"/>
                  </a:lnTo>
                  <a:lnTo>
                    <a:pt x="50" y="6"/>
                  </a:lnTo>
                  <a:lnTo>
                    <a:pt x="50" y="14"/>
                  </a:lnTo>
                  <a:lnTo>
                    <a:pt x="54" y="18"/>
                  </a:lnTo>
                  <a:lnTo>
                    <a:pt x="60" y="16"/>
                  </a:lnTo>
                  <a:lnTo>
                    <a:pt x="66" y="14"/>
                  </a:lnTo>
                  <a:lnTo>
                    <a:pt x="76" y="16"/>
                  </a:lnTo>
                  <a:lnTo>
                    <a:pt x="78" y="20"/>
                  </a:lnTo>
                  <a:lnTo>
                    <a:pt x="84" y="24"/>
                  </a:lnTo>
                  <a:lnTo>
                    <a:pt x="92" y="22"/>
                  </a:lnTo>
                  <a:lnTo>
                    <a:pt x="98" y="16"/>
                  </a:lnTo>
                  <a:lnTo>
                    <a:pt x="102" y="16"/>
                  </a:lnTo>
                  <a:lnTo>
                    <a:pt x="106" y="10"/>
                  </a:lnTo>
                  <a:lnTo>
                    <a:pt x="116" y="10"/>
                  </a:lnTo>
                  <a:lnTo>
                    <a:pt x="116" y="2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0"/>
                  </a:lnTo>
                  <a:lnTo>
                    <a:pt x="138" y="0"/>
                  </a:lnTo>
                  <a:lnTo>
                    <a:pt x="142" y="2"/>
                  </a:lnTo>
                  <a:lnTo>
                    <a:pt x="142" y="8"/>
                  </a:lnTo>
                  <a:lnTo>
                    <a:pt x="144" y="10"/>
                  </a:lnTo>
                  <a:lnTo>
                    <a:pt x="150" y="8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6" y="6"/>
                  </a:lnTo>
                  <a:lnTo>
                    <a:pt x="156" y="12"/>
                  </a:lnTo>
                  <a:lnTo>
                    <a:pt x="158" y="18"/>
                  </a:lnTo>
                  <a:lnTo>
                    <a:pt x="164" y="18"/>
                  </a:lnTo>
                  <a:lnTo>
                    <a:pt x="162" y="24"/>
                  </a:lnTo>
                  <a:lnTo>
                    <a:pt x="172" y="26"/>
                  </a:lnTo>
                  <a:lnTo>
                    <a:pt x="184" y="26"/>
                  </a:lnTo>
                  <a:lnTo>
                    <a:pt x="186" y="32"/>
                  </a:lnTo>
                  <a:lnTo>
                    <a:pt x="196" y="32"/>
                  </a:lnTo>
                  <a:lnTo>
                    <a:pt x="200" y="34"/>
                  </a:lnTo>
                  <a:lnTo>
                    <a:pt x="202" y="38"/>
                  </a:lnTo>
                  <a:lnTo>
                    <a:pt x="202" y="42"/>
                  </a:lnTo>
                  <a:lnTo>
                    <a:pt x="196" y="46"/>
                  </a:lnTo>
                  <a:lnTo>
                    <a:pt x="196" y="54"/>
                  </a:lnTo>
                  <a:lnTo>
                    <a:pt x="194" y="58"/>
                  </a:lnTo>
                  <a:lnTo>
                    <a:pt x="188" y="64"/>
                  </a:lnTo>
                  <a:lnTo>
                    <a:pt x="188" y="68"/>
                  </a:lnTo>
                  <a:lnTo>
                    <a:pt x="190" y="74"/>
                  </a:lnTo>
                  <a:lnTo>
                    <a:pt x="210" y="74"/>
                  </a:lnTo>
                  <a:lnTo>
                    <a:pt x="222" y="88"/>
                  </a:lnTo>
                  <a:lnTo>
                    <a:pt x="218" y="98"/>
                  </a:lnTo>
                  <a:lnTo>
                    <a:pt x="230" y="104"/>
                  </a:lnTo>
                  <a:lnTo>
                    <a:pt x="230" y="120"/>
                  </a:lnTo>
                  <a:lnTo>
                    <a:pt x="214" y="132"/>
                  </a:lnTo>
                  <a:lnTo>
                    <a:pt x="200" y="132"/>
                  </a:lnTo>
                  <a:lnTo>
                    <a:pt x="190" y="150"/>
                  </a:lnTo>
                  <a:lnTo>
                    <a:pt x="188" y="162"/>
                  </a:lnTo>
                  <a:lnTo>
                    <a:pt x="190" y="172"/>
                  </a:lnTo>
                  <a:lnTo>
                    <a:pt x="196" y="180"/>
                  </a:lnTo>
                  <a:lnTo>
                    <a:pt x="192" y="186"/>
                  </a:lnTo>
                  <a:lnTo>
                    <a:pt x="192" y="194"/>
                  </a:lnTo>
                  <a:lnTo>
                    <a:pt x="170" y="192"/>
                  </a:lnTo>
                  <a:lnTo>
                    <a:pt x="164" y="180"/>
                  </a:lnTo>
                  <a:lnTo>
                    <a:pt x="142" y="164"/>
                  </a:lnTo>
                  <a:lnTo>
                    <a:pt x="132" y="162"/>
                  </a:lnTo>
                  <a:lnTo>
                    <a:pt x="130" y="144"/>
                  </a:lnTo>
                  <a:lnTo>
                    <a:pt x="136" y="136"/>
                  </a:lnTo>
                  <a:lnTo>
                    <a:pt x="132" y="128"/>
                  </a:lnTo>
                  <a:lnTo>
                    <a:pt x="124" y="134"/>
                  </a:lnTo>
                  <a:lnTo>
                    <a:pt x="124" y="140"/>
                  </a:lnTo>
                  <a:lnTo>
                    <a:pt x="120" y="146"/>
                  </a:lnTo>
                  <a:lnTo>
                    <a:pt x="110" y="148"/>
                  </a:lnTo>
                  <a:lnTo>
                    <a:pt x="92" y="146"/>
                  </a:lnTo>
                  <a:lnTo>
                    <a:pt x="90" y="138"/>
                  </a:lnTo>
                  <a:lnTo>
                    <a:pt x="96" y="132"/>
                  </a:lnTo>
                  <a:lnTo>
                    <a:pt x="90" y="122"/>
                  </a:lnTo>
                  <a:lnTo>
                    <a:pt x="94" y="116"/>
                  </a:lnTo>
                  <a:lnTo>
                    <a:pt x="84" y="106"/>
                  </a:lnTo>
                  <a:lnTo>
                    <a:pt x="64" y="106"/>
                  </a:lnTo>
                  <a:lnTo>
                    <a:pt x="64" y="96"/>
                  </a:lnTo>
                  <a:lnTo>
                    <a:pt x="54" y="86"/>
                  </a:lnTo>
                  <a:lnTo>
                    <a:pt x="40" y="88"/>
                  </a:lnTo>
                  <a:lnTo>
                    <a:pt x="40" y="76"/>
                  </a:lnTo>
                  <a:lnTo>
                    <a:pt x="34" y="62"/>
                  </a:lnTo>
                  <a:lnTo>
                    <a:pt x="22" y="60"/>
                  </a:lnTo>
                  <a:lnTo>
                    <a:pt x="12" y="50"/>
                  </a:lnTo>
                  <a:lnTo>
                    <a:pt x="6" y="46"/>
                  </a:lnTo>
                  <a:lnTo>
                    <a:pt x="2" y="40"/>
                  </a:lnTo>
                  <a:lnTo>
                    <a:pt x="2" y="36"/>
                  </a:lnTo>
                  <a:lnTo>
                    <a:pt x="0" y="32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0" name="Freeform 25"/>
            <p:cNvSpPr>
              <a:spLocks/>
            </p:cNvSpPr>
            <p:nvPr/>
          </p:nvSpPr>
          <p:spPr bwMode="gray">
            <a:xfrm>
              <a:off x="2611061" y="2086646"/>
              <a:ext cx="623529" cy="1097015"/>
            </a:xfrm>
            <a:custGeom>
              <a:avLst/>
              <a:gdLst>
                <a:gd name="T0" fmla="*/ 4 w 570"/>
                <a:gd name="T1" fmla="*/ 150 h 1052"/>
                <a:gd name="T2" fmla="*/ 12 w 570"/>
                <a:gd name="T3" fmla="*/ 132 h 1052"/>
                <a:gd name="T4" fmla="*/ 40 w 570"/>
                <a:gd name="T5" fmla="*/ 140 h 1052"/>
                <a:gd name="T6" fmla="*/ 68 w 570"/>
                <a:gd name="T7" fmla="*/ 180 h 1052"/>
                <a:gd name="T8" fmla="*/ 116 w 570"/>
                <a:gd name="T9" fmla="*/ 164 h 1052"/>
                <a:gd name="T10" fmla="*/ 162 w 570"/>
                <a:gd name="T11" fmla="*/ 178 h 1052"/>
                <a:gd name="T12" fmla="*/ 188 w 570"/>
                <a:gd name="T13" fmla="*/ 124 h 1052"/>
                <a:gd name="T14" fmla="*/ 186 w 570"/>
                <a:gd name="T15" fmla="*/ 32 h 1052"/>
                <a:gd name="T16" fmla="*/ 232 w 570"/>
                <a:gd name="T17" fmla="*/ 0 h 1052"/>
                <a:gd name="T18" fmla="*/ 262 w 570"/>
                <a:gd name="T19" fmla="*/ 28 h 1052"/>
                <a:gd name="T20" fmla="*/ 298 w 570"/>
                <a:gd name="T21" fmla="*/ 60 h 1052"/>
                <a:gd name="T22" fmla="*/ 286 w 570"/>
                <a:gd name="T23" fmla="*/ 114 h 1052"/>
                <a:gd name="T24" fmla="*/ 296 w 570"/>
                <a:gd name="T25" fmla="*/ 156 h 1052"/>
                <a:gd name="T26" fmla="*/ 370 w 570"/>
                <a:gd name="T27" fmla="*/ 216 h 1052"/>
                <a:gd name="T28" fmla="*/ 360 w 570"/>
                <a:gd name="T29" fmla="*/ 308 h 1052"/>
                <a:gd name="T30" fmla="*/ 422 w 570"/>
                <a:gd name="T31" fmla="*/ 388 h 1052"/>
                <a:gd name="T32" fmla="*/ 424 w 570"/>
                <a:gd name="T33" fmla="*/ 444 h 1052"/>
                <a:gd name="T34" fmla="*/ 428 w 570"/>
                <a:gd name="T35" fmla="*/ 478 h 1052"/>
                <a:gd name="T36" fmla="*/ 456 w 570"/>
                <a:gd name="T37" fmla="*/ 516 h 1052"/>
                <a:gd name="T38" fmla="*/ 480 w 570"/>
                <a:gd name="T39" fmla="*/ 540 h 1052"/>
                <a:gd name="T40" fmla="*/ 492 w 570"/>
                <a:gd name="T41" fmla="*/ 574 h 1052"/>
                <a:gd name="T42" fmla="*/ 530 w 570"/>
                <a:gd name="T43" fmla="*/ 626 h 1052"/>
                <a:gd name="T44" fmla="*/ 570 w 570"/>
                <a:gd name="T45" fmla="*/ 702 h 1052"/>
                <a:gd name="T46" fmla="*/ 510 w 570"/>
                <a:gd name="T47" fmla="*/ 850 h 1052"/>
                <a:gd name="T48" fmla="*/ 462 w 570"/>
                <a:gd name="T49" fmla="*/ 932 h 1052"/>
                <a:gd name="T50" fmla="*/ 440 w 570"/>
                <a:gd name="T51" fmla="*/ 942 h 1052"/>
                <a:gd name="T52" fmla="*/ 412 w 570"/>
                <a:gd name="T53" fmla="*/ 958 h 1052"/>
                <a:gd name="T54" fmla="*/ 386 w 570"/>
                <a:gd name="T55" fmla="*/ 976 h 1052"/>
                <a:gd name="T56" fmla="*/ 366 w 570"/>
                <a:gd name="T57" fmla="*/ 974 h 1052"/>
                <a:gd name="T58" fmla="*/ 340 w 570"/>
                <a:gd name="T59" fmla="*/ 998 h 1052"/>
                <a:gd name="T60" fmla="*/ 298 w 570"/>
                <a:gd name="T61" fmla="*/ 1020 h 1052"/>
                <a:gd name="T62" fmla="*/ 264 w 570"/>
                <a:gd name="T63" fmla="*/ 1040 h 1052"/>
                <a:gd name="T64" fmla="*/ 250 w 570"/>
                <a:gd name="T65" fmla="*/ 1042 h 1052"/>
                <a:gd name="T66" fmla="*/ 244 w 570"/>
                <a:gd name="T67" fmla="*/ 1042 h 1052"/>
                <a:gd name="T68" fmla="*/ 238 w 570"/>
                <a:gd name="T69" fmla="*/ 1022 h 1052"/>
                <a:gd name="T70" fmla="*/ 214 w 570"/>
                <a:gd name="T71" fmla="*/ 1032 h 1052"/>
                <a:gd name="T72" fmla="*/ 216 w 570"/>
                <a:gd name="T73" fmla="*/ 1008 h 1052"/>
                <a:gd name="T74" fmla="*/ 196 w 570"/>
                <a:gd name="T75" fmla="*/ 996 h 1052"/>
                <a:gd name="T76" fmla="*/ 160 w 570"/>
                <a:gd name="T77" fmla="*/ 988 h 1052"/>
                <a:gd name="T78" fmla="*/ 150 w 570"/>
                <a:gd name="T79" fmla="*/ 944 h 1052"/>
                <a:gd name="T80" fmla="*/ 152 w 570"/>
                <a:gd name="T81" fmla="*/ 896 h 1052"/>
                <a:gd name="T82" fmla="*/ 134 w 570"/>
                <a:gd name="T83" fmla="*/ 856 h 1052"/>
                <a:gd name="T84" fmla="*/ 120 w 570"/>
                <a:gd name="T85" fmla="*/ 796 h 1052"/>
                <a:gd name="T86" fmla="*/ 124 w 570"/>
                <a:gd name="T87" fmla="*/ 748 h 1052"/>
                <a:gd name="T88" fmla="*/ 134 w 570"/>
                <a:gd name="T89" fmla="*/ 730 h 1052"/>
                <a:gd name="T90" fmla="*/ 148 w 570"/>
                <a:gd name="T91" fmla="*/ 718 h 1052"/>
                <a:gd name="T92" fmla="*/ 156 w 570"/>
                <a:gd name="T93" fmla="*/ 710 h 1052"/>
                <a:gd name="T94" fmla="*/ 162 w 570"/>
                <a:gd name="T95" fmla="*/ 696 h 1052"/>
                <a:gd name="T96" fmla="*/ 174 w 570"/>
                <a:gd name="T97" fmla="*/ 678 h 1052"/>
                <a:gd name="T98" fmla="*/ 194 w 570"/>
                <a:gd name="T99" fmla="*/ 648 h 1052"/>
                <a:gd name="T100" fmla="*/ 202 w 570"/>
                <a:gd name="T101" fmla="*/ 616 h 1052"/>
                <a:gd name="T102" fmla="*/ 224 w 570"/>
                <a:gd name="T103" fmla="*/ 564 h 1052"/>
                <a:gd name="T104" fmla="*/ 252 w 570"/>
                <a:gd name="T105" fmla="*/ 538 h 1052"/>
                <a:gd name="T106" fmla="*/ 252 w 570"/>
                <a:gd name="T107" fmla="*/ 532 h 1052"/>
                <a:gd name="T108" fmla="*/ 260 w 570"/>
                <a:gd name="T109" fmla="*/ 524 h 1052"/>
                <a:gd name="T110" fmla="*/ 246 w 570"/>
                <a:gd name="T111" fmla="*/ 488 h 1052"/>
                <a:gd name="T112" fmla="*/ 218 w 570"/>
                <a:gd name="T113" fmla="*/ 470 h 1052"/>
                <a:gd name="T114" fmla="*/ 182 w 570"/>
                <a:gd name="T115" fmla="*/ 444 h 1052"/>
                <a:gd name="T116" fmla="*/ 164 w 570"/>
                <a:gd name="T117" fmla="*/ 382 h 1052"/>
                <a:gd name="T118" fmla="*/ 144 w 570"/>
                <a:gd name="T119" fmla="*/ 316 h 1052"/>
                <a:gd name="T120" fmla="*/ 130 w 570"/>
                <a:gd name="T121" fmla="*/ 250 h 1052"/>
                <a:gd name="T122" fmla="*/ 98 w 570"/>
                <a:gd name="T123" fmla="*/ 216 h 1052"/>
                <a:gd name="T124" fmla="*/ 40 w 570"/>
                <a:gd name="T125" fmla="*/ 19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0" h="1052">
                  <a:moveTo>
                    <a:pt x="12" y="170"/>
                  </a:moveTo>
                  <a:lnTo>
                    <a:pt x="6" y="164"/>
                  </a:lnTo>
                  <a:lnTo>
                    <a:pt x="0" y="156"/>
                  </a:lnTo>
                  <a:lnTo>
                    <a:pt x="4" y="150"/>
                  </a:lnTo>
                  <a:lnTo>
                    <a:pt x="12" y="154"/>
                  </a:lnTo>
                  <a:lnTo>
                    <a:pt x="16" y="150"/>
                  </a:lnTo>
                  <a:lnTo>
                    <a:pt x="10" y="142"/>
                  </a:lnTo>
                  <a:lnTo>
                    <a:pt x="12" y="132"/>
                  </a:lnTo>
                  <a:lnTo>
                    <a:pt x="16" y="130"/>
                  </a:lnTo>
                  <a:lnTo>
                    <a:pt x="20" y="128"/>
                  </a:lnTo>
                  <a:lnTo>
                    <a:pt x="30" y="130"/>
                  </a:lnTo>
                  <a:lnTo>
                    <a:pt x="40" y="140"/>
                  </a:lnTo>
                  <a:lnTo>
                    <a:pt x="46" y="150"/>
                  </a:lnTo>
                  <a:lnTo>
                    <a:pt x="54" y="160"/>
                  </a:lnTo>
                  <a:lnTo>
                    <a:pt x="62" y="170"/>
                  </a:lnTo>
                  <a:lnTo>
                    <a:pt x="68" y="180"/>
                  </a:lnTo>
                  <a:lnTo>
                    <a:pt x="86" y="182"/>
                  </a:lnTo>
                  <a:lnTo>
                    <a:pt x="100" y="182"/>
                  </a:lnTo>
                  <a:lnTo>
                    <a:pt x="112" y="174"/>
                  </a:lnTo>
                  <a:lnTo>
                    <a:pt x="116" y="164"/>
                  </a:lnTo>
                  <a:lnTo>
                    <a:pt x="122" y="158"/>
                  </a:lnTo>
                  <a:lnTo>
                    <a:pt x="132" y="164"/>
                  </a:lnTo>
                  <a:lnTo>
                    <a:pt x="146" y="168"/>
                  </a:lnTo>
                  <a:lnTo>
                    <a:pt x="162" y="178"/>
                  </a:lnTo>
                  <a:lnTo>
                    <a:pt x="166" y="168"/>
                  </a:lnTo>
                  <a:lnTo>
                    <a:pt x="170" y="150"/>
                  </a:lnTo>
                  <a:lnTo>
                    <a:pt x="182" y="140"/>
                  </a:lnTo>
                  <a:lnTo>
                    <a:pt x="188" y="124"/>
                  </a:lnTo>
                  <a:lnTo>
                    <a:pt x="180" y="112"/>
                  </a:lnTo>
                  <a:lnTo>
                    <a:pt x="178" y="64"/>
                  </a:lnTo>
                  <a:lnTo>
                    <a:pt x="186" y="44"/>
                  </a:lnTo>
                  <a:lnTo>
                    <a:pt x="186" y="32"/>
                  </a:lnTo>
                  <a:lnTo>
                    <a:pt x="200" y="26"/>
                  </a:lnTo>
                  <a:lnTo>
                    <a:pt x="216" y="24"/>
                  </a:lnTo>
                  <a:lnTo>
                    <a:pt x="224" y="10"/>
                  </a:lnTo>
                  <a:lnTo>
                    <a:pt x="232" y="0"/>
                  </a:lnTo>
                  <a:lnTo>
                    <a:pt x="244" y="10"/>
                  </a:lnTo>
                  <a:lnTo>
                    <a:pt x="252" y="20"/>
                  </a:lnTo>
                  <a:lnTo>
                    <a:pt x="258" y="22"/>
                  </a:lnTo>
                  <a:lnTo>
                    <a:pt x="262" y="28"/>
                  </a:lnTo>
                  <a:lnTo>
                    <a:pt x="280" y="30"/>
                  </a:lnTo>
                  <a:lnTo>
                    <a:pt x="286" y="32"/>
                  </a:lnTo>
                  <a:lnTo>
                    <a:pt x="298" y="46"/>
                  </a:lnTo>
                  <a:lnTo>
                    <a:pt x="298" y="60"/>
                  </a:lnTo>
                  <a:lnTo>
                    <a:pt x="290" y="78"/>
                  </a:lnTo>
                  <a:lnTo>
                    <a:pt x="290" y="88"/>
                  </a:lnTo>
                  <a:lnTo>
                    <a:pt x="300" y="98"/>
                  </a:lnTo>
                  <a:lnTo>
                    <a:pt x="286" y="114"/>
                  </a:lnTo>
                  <a:lnTo>
                    <a:pt x="296" y="116"/>
                  </a:lnTo>
                  <a:lnTo>
                    <a:pt x="294" y="142"/>
                  </a:lnTo>
                  <a:lnTo>
                    <a:pt x="292" y="146"/>
                  </a:lnTo>
                  <a:lnTo>
                    <a:pt x="296" y="156"/>
                  </a:lnTo>
                  <a:lnTo>
                    <a:pt x="314" y="184"/>
                  </a:lnTo>
                  <a:lnTo>
                    <a:pt x="338" y="188"/>
                  </a:lnTo>
                  <a:lnTo>
                    <a:pt x="356" y="210"/>
                  </a:lnTo>
                  <a:lnTo>
                    <a:pt x="370" y="216"/>
                  </a:lnTo>
                  <a:lnTo>
                    <a:pt x="376" y="224"/>
                  </a:lnTo>
                  <a:lnTo>
                    <a:pt x="364" y="260"/>
                  </a:lnTo>
                  <a:lnTo>
                    <a:pt x="358" y="284"/>
                  </a:lnTo>
                  <a:lnTo>
                    <a:pt x="360" y="308"/>
                  </a:lnTo>
                  <a:lnTo>
                    <a:pt x="386" y="340"/>
                  </a:lnTo>
                  <a:lnTo>
                    <a:pt x="398" y="356"/>
                  </a:lnTo>
                  <a:lnTo>
                    <a:pt x="408" y="366"/>
                  </a:lnTo>
                  <a:lnTo>
                    <a:pt x="422" y="388"/>
                  </a:lnTo>
                  <a:lnTo>
                    <a:pt x="432" y="410"/>
                  </a:lnTo>
                  <a:lnTo>
                    <a:pt x="420" y="416"/>
                  </a:lnTo>
                  <a:lnTo>
                    <a:pt x="420" y="430"/>
                  </a:lnTo>
                  <a:lnTo>
                    <a:pt x="424" y="444"/>
                  </a:lnTo>
                  <a:lnTo>
                    <a:pt x="424" y="460"/>
                  </a:lnTo>
                  <a:lnTo>
                    <a:pt x="436" y="462"/>
                  </a:lnTo>
                  <a:lnTo>
                    <a:pt x="436" y="468"/>
                  </a:lnTo>
                  <a:lnTo>
                    <a:pt x="428" y="478"/>
                  </a:lnTo>
                  <a:lnTo>
                    <a:pt x="442" y="502"/>
                  </a:lnTo>
                  <a:lnTo>
                    <a:pt x="454" y="498"/>
                  </a:lnTo>
                  <a:lnTo>
                    <a:pt x="464" y="506"/>
                  </a:lnTo>
                  <a:lnTo>
                    <a:pt x="456" y="516"/>
                  </a:lnTo>
                  <a:lnTo>
                    <a:pt x="456" y="524"/>
                  </a:lnTo>
                  <a:lnTo>
                    <a:pt x="466" y="526"/>
                  </a:lnTo>
                  <a:lnTo>
                    <a:pt x="468" y="538"/>
                  </a:lnTo>
                  <a:lnTo>
                    <a:pt x="480" y="540"/>
                  </a:lnTo>
                  <a:lnTo>
                    <a:pt x="490" y="544"/>
                  </a:lnTo>
                  <a:lnTo>
                    <a:pt x="498" y="558"/>
                  </a:lnTo>
                  <a:lnTo>
                    <a:pt x="498" y="566"/>
                  </a:lnTo>
                  <a:lnTo>
                    <a:pt x="492" y="574"/>
                  </a:lnTo>
                  <a:lnTo>
                    <a:pt x="492" y="588"/>
                  </a:lnTo>
                  <a:lnTo>
                    <a:pt x="480" y="600"/>
                  </a:lnTo>
                  <a:lnTo>
                    <a:pt x="510" y="620"/>
                  </a:lnTo>
                  <a:lnTo>
                    <a:pt x="530" y="626"/>
                  </a:lnTo>
                  <a:lnTo>
                    <a:pt x="546" y="634"/>
                  </a:lnTo>
                  <a:lnTo>
                    <a:pt x="554" y="644"/>
                  </a:lnTo>
                  <a:lnTo>
                    <a:pt x="570" y="656"/>
                  </a:lnTo>
                  <a:lnTo>
                    <a:pt x="570" y="702"/>
                  </a:lnTo>
                  <a:lnTo>
                    <a:pt x="554" y="732"/>
                  </a:lnTo>
                  <a:lnTo>
                    <a:pt x="540" y="776"/>
                  </a:lnTo>
                  <a:lnTo>
                    <a:pt x="522" y="816"/>
                  </a:lnTo>
                  <a:lnTo>
                    <a:pt x="510" y="850"/>
                  </a:lnTo>
                  <a:lnTo>
                    <a:pt x="498" y="866"/>
                  </a:lnTo>
                  <a:lnTo>
                    <a:pt x="494" y="878"/>
                  </a:lnTo>
                  <a:lnTo>
                    <a:pt x="486" y="884"/>
                  </a:lnTo>
                  <a:lnTo>
                    <a:pt x="462" y="932"/>
                  </a:lnTo>
                  <a:lnTo>
                    <a:pt x="462" y="940"/>
                  </a:lnTo>
                  <a:lnTo>
                    <a:pt x="454" y="940"/>
                  </a:lnTo>
                  <a:lnTo>
                    <a:pt x="448" y="944"/>
                  </a:lnTo>
                  <a:lnTo>
                    <a:pt x="440" y="942"/>
                  </a:lnTo>
                  <a:lnTo>
                    <a:pt x="436" y="940"/>
                  </a:lnTo>
                  <a:lnTo>
                    <a:pt x="430" y="946"/>
                  </a:lnTo>
                  <a:lnTo>
                    <a:pt x="416" y="952"/>
                  </a:lnTo>
                  <a:lnTo>
                    <a:pt x="412" y="958"/>
                  </a:lnTo>
                  <a:lnTo>
                    <a:pt x="402" y="958"/>
                  </a:lnTo>
                  <a:lnTo>
                    <a:pt x="394" y="962"/>
                  </a:lnTo>
                  <a:lnTo>
                    <a:pt x="388" y="968"/>
                  </a:lnTo>
                  <a:lnTo>
                    <a:pt x="386" y="976"/>
                  </a:lnTo>
                  <a:lnTo>
                    <a:pt x="380" y="978"/>
                  </a:lnTo>
                  <a:lnTo>
                    <a:pt x="374" y="974"/>
                  </a:lnTo>
                  <a:lnTo>
                    <a:pt x="364" y="966"/>
                  </a:lnTo>
                  <a:lnTo>
                    <a:pt x="366" y="974"/>
                  </a:lnTo>
                  <a:lnTo>
                    <a:pt x="366" y="980"/>
                  </a:lnTo>
                  <a:lnTo>
                    <a:pt x="358" y="984"/>
                  </a:lnTo>
                  <a:lnTo>
                    <a:pt x="352" y="988"/>
                  </a:lnTo>
                  <a:lnTo>
                    <a:pt x="340" y="998"/>
                  </a:lnTo>
                  <a:lnTo>
                    <a:pt x="330" y="1004"/>
                  </a:lnTo>
                  <a:lnTo>
                    <a:pt x="320" y="1012"/>
                  </a:lnTo>
                  <a:lnTo>
                    <a:pt x="308" y="1016"/>
                  </a:lnTo>
                  <a:lnTo>
                    <a:pt x="298" y="1020"/>
                  </a:lnTo>
                  <a:lnTo>
                    <a:pt x="284" y="1026"/>
                  </a:lnTo>
                  <a:lnTo>
                    <a:pt x="280" y="1030"/>
                  </a:lnTo>
                  <a:lnTo>
                    <a:pt x="272" y="1040"/>
                  </a:lnTo>
                  <a:lnTo>
                    <a:pt x="264" y="1040"/>
                  </a:lnTo>
                  <a:lnTo>
                    <a:pt x="262" y="1044"/>
                  </a:lnTo>
                  <a:lnTo>
                    <a:pt x="254" y="1052"/>
                  </a:lnTo>
                  <a:lnTo>
                    <a:pt x="246" y="1052"/>
                  </a:lnTo>
                  <a:lnTo>
                    <a:pt x="250" y="1042"/>
                  </a:lnTo>
                  <a:lnTo>
                    <a:pt x="254" y="1040"/>
                  </a:lnTo>
                  <a:lnTo>
                    <a:pt x="254" y="1032"/>
                  </a:lnTo>
                  <a:lnTo>
                    <a:pt x="250" y="1036"/>
                  </a:lnTo>
                  <a:lnTo>
                    <a:pt x="244" y="1042"/>
                  </a:lnTo>
                  <a:lnTo>
                    <a:pt x="242" y="1038"/>
                  </a:lnTo>
                  <a:lnTo>
                    <a:pt x="246" y="1028"/>
                  </a:lnTo>
                  <a:lnTo>
                    <a:pt x="240" y="1020"/>
                  </a:lnTo>
                  <a:lnTo>
                    <a:pt x="238" y="1022"/>
                  </a:lnTo>
                  <a:lnTo>
                    <a:pt x="238" y="1024"/>
                  </a:lnTo>
                  <a:lnTo>
                    <a:pt x="234" y="1030"/>
                  </a:lnTo>
                  <a:lnTo>
                    <a:pt x="222" y="1036"/>
                  </a:lnTo>
                  <a:lnTo>
                    <a:pt x="214" y="1032"/>
                  </a:lnTo>
                  <a:lnTo>
                    <a:pt x="216" y="1024"/>
                  </a:lnTo>
                  <a:lnTo>
                    <a:pt x="222" y="1018"/>
                  </a:lnTo>
                  <a:lnTo>
                    <a:pt x="218" y="1012"/>
                  </a:lnTo>
                  <a:lnTo>
                    <a:pt x="216" y="1008"/>
                  </a:lnTo>
                  <a:lnTo>
                    <a:pt x="204" y="1014"/>
                  </a:lnTo>
                  <a:lnTo>
                    <a:pt x="202" y="1006"/>
                  </a:lnTo>
                  <a:lnTo>
                    <a:pt x="202" y="1000"/>
                  </a:lnTo>
                  <a:lnTo>
                    <a:pt x="196" y="996"/>
                  </a:lnTo>
                  <a:lnTo>
                    <a:pt x="190" y="988"/>
                  </a:lnTo>
                  <a:lnTo>
                    <a:pt x="176" y="988"/>
                  </a:lnTo>
                  <a:lnTo>
                    <a:pt x="172" y="988"/>
                  </a:lnTo>
                  <a:lnTo>
                    <a:pt x="160" y="988"/>
                  </a:lnTo>
                  <a:lnTo>
                    <a:pt x="154" y="980"/>
                  </a:lnTo>
                  <a:lnTo>
                    <a:pt x="154" y="964"/>
                  </a:lnTo>
                  <a:lnTo>
                    <a:pt x="156" y="954"/>
                  </a:lnTo>
                  <a:lnTo>
                    <a:pt x="150" y="944"/>
                  </a:lnTo>
                  <a:lnTo>
                    <a:pt x="154" y="928"/>
                  </a:lnTo>
                  <a:lnTo>
                    <a:pt x="158" y="918"/>
                  </a:lnTo>
                  <a:lnTo>
                    <a:pt x="154" y="910"/>
                  </a:lnTo>
                  <a:lnTo>
                    <a:pt x="152" y="896"/>
                  </a:lnTo>
                  <a:lnTo>
                    <a:pt x="154" y="888"/>
                  </a:lnTo>
                  <a:lnTo>
                    <a:pt x="144" y="868"/>
                  </a:lnTo>
                  <a:lnTo>
                    <a:pt x="140" y="858"/>
                  </a:lnTo>
                  <a:lnTo>
                    <a:pt x="134" y="856"/>
                  </a:lnTo>
                  <a:lnTo>
                    <a:pt x="134" y="828"/>
                  </a:lnTo>
                  <a:lnTo>
                    <a:pt x="124" y="816"/>
                  </a:lnTo>
                  <a:lnTo>
                    <a:pt x="120" y="804"/>
                  </a:lnTo>
                  <a:lnTo>
                    <a:pt x="120" y="796"/>
                  </a:lnTo>
                  <a:lnTo>
                    <a:pt x="114" y="790"/>
                  </a:lnTo>
                  <a:lnTo>
                    <a:pt x="118" y="770"/>
                  </a:lnTo>
                  <a:lnTo>
                    <a:pt x="126" y="768"/>
                  </a:lnTo>
                  <a:lnTo>
                    <a:pt x="124" y="748"/>
                  </a:lnTo>
                  <a:lnTo>
                    <a:pt x="130" y="748"/>
                  </a:lnTo>
                  <a:lnTo>
                    <a:pt x="130" y="740"/>
                  </a:lnTo>
                  <a:lnTo>
                    <a:pt x="128" y="730"/>
                  </a:lnTo>
                  <a:lnTo>
                    <a:pt x="134" y="730"/>
                  </a:lnTo>
                  <a:lnTo>
                    <a:pt x="138" y="726"/>
                  </a:lnTo>
                  <a:lnTo>
                    <a:pt x="144" y="726"/>
                  </a:lnTo>
                  <a:lnTo>
                    <a:pt x="150" y="726"/>
                  </a:lnTo>
                  <a:lnTo>
                    <a:pt x="148" y="718"/>
                  </a:lnTo>
                  <a:lnTo>
                    <a:pt x="152" y="716"/>
                  </a:lnTo>
                  <a:lnTo>
                    <a:pt x="160" y="722"/>
                  </a:lnTo>
                  <a:lnTo>
                    <a:pt x="162" y="716"/>
                  </a:lnTo>
                  <a:lnTo>
                    <a:pt x="156" y="710"/>
                  </a:lnTo>
                  <a:lnTo>
                    <a:pt x="154" y="702"/>
                  </a:lnTo>
                  <a:lnTo>
                    <a:pt x="156" y="700"/>
                  </a:lnTo>
                  <a:lnTo>
                    <a:pt x="158" y="698"/>
                  </a:lnTo>
                  <a:lnTo>
                    <a:pt x="162" y="696"/>
                  </a:lnTo>
                  <a:lnTo>
                    <a:pt x="162" y="686"/>
                  </a:lnTo>
                  <a:lnTo>
                    <a:pt x="164" y="680"/>
                  </a:lnTo>
                  <a:lnTo>
                    <a:pt x="168" y="680"/>
                  </a:lnTo>
                  <a:lnTo>
                    <a:pt x="174" y="678"/>
                  </a:lnTo>
                  <a:lnTo>
                    <a:pt x="176" y="668"/>
                  </a:lnTo>
                  <a:lnTo>
                    <a:pt x="180" y="656"/>
                  </a:lnTo>
                  <a:lnTo>
                    <a:pt x="188" y="654"/>
                  </a:lnTo>
                  <a:lnTo>
                    <a:pt x="194" y="648"/>
                  </a:lnTo>
                  <a:lnTo>
                    <a:pt x="194" y="638"/>
                  </a:lnTo>
                  <a:lnTo>
                    <a:pt x="200" y="636"/>
                  </a:lnTo>
                  <a:lnTo>
                    <a:pt x="200" y="628"/>
                  </a:lnTo>
                  <a:lnTo>
                    <a:pt x="202" y="616"/>
                  </a:lnTo>
                  <a:lnTo>
                    <a:pt x="210" y="614"/>
                  </a:lnTo>
                  <a:lnTo>
                    <a:pt x="212" y="598"/>
                  </a:lnTo>
                  <a:lnTo>
                    <a:pt x="222" y="582"/>
                  </a:lnTo>
                  <a:lnTo>
                    <a:pt x="224" y="564"/>
                  </a:lnTo>
                  <a:lnTo>
                    <a:pt x="228" y="560"/>
                  </a:lnTo>
                  <a:lnTo>
                    <a:pt x="228" y="552"/>
                  </a:lnTo>
                  <a:lnTo>
                    <a:pt x="242" y="540"/>
                  </a:lnTo>
                  <a:lnTo>
                    <a:pt x="252" y="538"/>
                  </a:lnTo>
                  <a:lnTo>
                    <a:pt x="254" y="546"/>
                  </a:lnTo>
                  <a:lnTo>
                    <a:pt x="260" y="544"/>
                  </a:lnTo>
                  <a:lnTo>
                    <a:pt x="260" y="536"/>
                  </a:lnTo>
                  <a:lnTo>
                    <a:pt x="252" y="532"/>
                  </a:lnTo>
                  <a:lnTo>
                    <a:pt x="250" y="530"/>
                  </a:lnTo>
                  <a:lnTo>
                    <a:pt x="250" y="528"/>
                  </a:lnTo>
                  <a:lnTo>
                    <a:pt x="256" y="526"/>
                  </a:lnTo>
                  <a:lnTo>
                    <a:pt x="260" y="524"/>
                  </a:lnTo>
                  <a:lnTo>
                    <a:pt x="254" y="520"/>
                  </a:lnTo>
                  <a:lnTo>
                    <a:pt x="246" y="510"/>
                  </a:lnTo>
                  <a:lnTo>
                    <a:pt x="246" y="498"/>
                  </a:lnTo>
                  <a:lnTo>
                    <a:pt x="246" y="488"/>
                  </a:lnTo>
                  <a:lnTo>
                    <a:pt x="246" y="480"/>
                  </a:lnTo>
                  <a:lnTo>
                    <a:pt x="238" y="474"/>
                  </a:lnTo>
                  <a:lnTo>
                    <a:pt x="222" y="468"/>
                  </a:lnTo>
                  <a:lnTo>
                    <a:pt x="218" y="470"/>
                  </a:lnTo>
                  <a:lnTo>
                    <a:pt x="210" y="464"/>
                  </a:lnTo>
                  <a:lnTo>
                    <a:pt x="206" y="456"/>
                  </a:lnTo>
                  <a:lnTo>
                    <a:pt x="190" y="458"/>
                  </a:lnTo>
                  <a:lnTo>
                    <a:pt x="182" y="444"/>
                  </a:lnTo>
                  <a:lnTo>
                    <a:pt x="174" y="424"/>
                  </a:lnTo>
                  <a:lnTo>
                    <a:pt x="160" y="414"/>
                  </a:lnTo>
                  <a:lnTo>
                    <a:pt x="158" y="394"/>
                  </a:lnTo>
                  <a:lnTo>
                    <a:pt x="164" y="382"/>
                  </a:lnTo>
                  <a:lnTo>
                    <a:pt x="162" y="358"/>
                  </a:lnTo>
                  <a:lnTo>
                    <a:pt x="140" y="328"/>
                  </a:lnTo>
                  <a:lnTo>
                    <a:pt x="140" y="318"/>
                  </a:lnTo>
                  <a:lnTo>
                    <a:pt x="144" y="316"/>
                  </a:lnTo>
                  <a:lnTo>
                    <a:pt x="144" y="300"/>
                  </a:lnTo>
                  <a:lnTo>
                    <a:pt x="130" y="296"/>
                  </a:lnTo>
                  <a:lnTo>
                    <a:pt x="124" y="258"/>
                  </a:lnTo>
                  <a:lnTo>
                    <a:pt x="130" y="250"/>
                  </a:lnTo>
                  <a:lnTo>
                    <a:pt x="116" y="234"/>
                  </a:lnTo>
                  <a:lnTo>
                    <a:pt x="108" y="232"/>
                  </a:lnTo>
                  <a:lnTo>
                    <a:pt x="108" y="226"/>
                  </a:lnTo>
                  <a:lnTo>
                    <a:pt x="98" y="216"/>
                  </a:lnTo>
                  <a:lnTo>
                    <a:pt x="76" y="208"/>
                  </a:lnTo>
                  <a:lnTo>
                    <a:pt x="58" y="206"/>
                  </a:lnTo>
                  <a:lnTo>
                    <a:pt x="52" y="196"/>
                  </a:lnTo>
                  <a:lnTo>
                    <a:pt x="40" y="190"/>
                  </a:lnTo>
                  <a:lnTo>
                    <a:pt x="24" y="180"/>
                  </a:lnTo>
                  <a:lnTo>
                    <a:pt x="16" y="174"/>
                  </a:lnTo>
                  <a:lnTo>
                    <a:pt x="12" y="17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1" name="Freeform 26"/>
            <p:cNvSpPr>
              <a:spLocks/>
            </p:cNvSpPr>
            <p:nvPr/>
          </p:nvSpPr>
          <p:spPr bwMode="gray">
            <a:xfrm>
              <a:off x="3021762" y="2059743"/>
              <a:ext cx="56198" cy="30770"/>
            </a:xfrm>
            <a:custGeom>
              <a:avLst/>
              <a:gdLst>
                <a:gd name="T0" fmla="*/ 2 w 50"/>
                <a:gd name="T1" fmla="*/ 0 h 30"/>
                <a:gd name="T2" fmla="*/ 12 w 50"/>
                <a:gd name="T3" fmla="*/ 6 h 30"/>
                <a:gd name="T4" fmla="*/ 26 w 50"/>
                <a:gd name="T5" fmla="*/ 12 h 30"/>
                <a:gd name="T6" fmla="*/ 36 w 50"/>
                <a:gd name="T7" fmla="*/ 8 h 30"/>
                <a:gd name="T8" fmla="*/ 44 w 50"/>
                <a:gd name="T9" fmla="*/ 12 h 30"/>
                <a:gd name="T10" fmla="*/ 50 w 50"/>
                <a:gd name="T11" fmla="*/ 18 h 30"/>
                <a:gd name="T12" fmla="*/ 46 w 50"/>
                <a:gd name="T13" fmla="*/ 28 h 30"/>
                <a:gd name="T14" fmla="*/ 34 w 50"/>
                <a:gd name="T15" fmla="*/ 30 h 30"/>
                <a:gd name="T16" fmla="*/ 18 w 50"/>
                <a:gd name="T17" fmla="*/ 28 h 30"/>
                <a:gd name="T18" fmla="*/ 12 w 50"/>
                <a:gd name="T19" fmla="*/ 20 h 30"/>
                <a:gd name="T20" fmla="*/ 6 w 50"/>
                <a:gd name="T21" fmla="*/ 16 h 30"/>
                <a:gd name="T22" fmla="*/ 0 w 50"/>
                <a:gd name="T23" fmla="*/ 8 h 30"/>
                <a:gd name="T24" fmla="*/ 2 w 50"/>
                <a:gd name="T2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30">
                  <a:moveTo>
                    <a:pt x="2" y="0"/>
                  </a:moveTo>
                  <a:lnTo>
                    <a:pt x="12" y="6"/>
                  </a:lnTo>
                  <a:lnTo>
                    <a:pt x="26" y="12"/>
                  </a:lnTo>
                  <a:lnTo>
                    <a:pt x="36" y="8"/>
                  </a:lnTo>
                  <a:lnTo>
                    <a:pt x="44" y="12"/>
                  </a:lnTo>
                  <a:lnTo>
                    <a:pt x="50" y="18"/>
                  </a:lnTo>
                  <a:lnTo>
                    <a:pt x="46" y="28"/>
                  </a:lnTo>
                  <a:lnTo>
                    <a:pt x="34" y="30"/>
                  </a:lnTo>
                  <a:lnTo>
                    <a:pt x="18" y="28"/>
                  </a:lnTo>
                  <a:lnTo>
                    <a:pt x="12" y="20"/>
                  </a:lnTo>
                  <a:lnTo>
                    <a:pt x="6" y="16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92" name="Group 27"/>
            <p:cNvGrpSpPr>
              <a:grpSpLocks/>
            </p:cNvGrpSpPr>
            <p:nvPr/>
          </p:nvGrpSpPr>
          <p:grpSpPr bwMode="gray">
            <a:xfrm>
              <a:off x="1917874" y="1982149"/>
              <a:ext cx="1078464" cy="1442174"/>
              <a:chOff x="3105" y="145"/>
              <a:chExt cx="1080" cy="1517"/>
            </a:xfrm>
            <a:solidFill>
              <a:srgbClr val="008AB3"/>
            </a:solidFill>
          </p:grpSpPr>
          <p:sp>
            <p:nvSpPr>
              <p:cNvPr id="273" name="Freeform 28"/>
              <p:cNvSpPr>
                <a:spLocks/>
              </p:cNvSpPr>
              <p:nvPr/>
            </p:nvSpPr>
            <p:spPr bwMode="gray">
              <a:xfrm>
                <a:off x="3105" y="145"/>
                <a:ext cx="1080" cy="1517"/>
              </a:xfrm>
              <a:custGeom>
                <a:avLst/>
                <a:gdLst>
                  <a:gd name="T0" fmla="*/ 829 w 985"/>
                  <a:gd name="T1" fmla="*/ 66 h 1384"/>
                  <a:gd name="T2" fmla="*/ 845 w 985"/>
                  <a:gd name="T3" fmla="*/ 4 h 1384"/>
                  <a:gd name="T4" fmla="*/ 859 w 985"/>
                  <a:gd name="T5" fmla="*/ 58 h 1384"/>
                  <a:gd name="T6" fmla="*/ 925 w 985"/>
                  <a:gd name="T7" fmla="*/ 20 h 1384"/>
                  <a:gd name="T8" fmla="*/ 951 w 985"/>
                  <a:gd name="T9" fmla="*/ 74 h 1384"/>
                  <a:gd name="T10" fmla="*/ 969 w 985"/>
                  <a:gd name="T11" fmla="*/ 104 h 1384"/>
                  <a:gd name="T12" fmla="*/ 931 w 985"/>
                  <a:gd name="T13" fmla="*/ 160 h 1384"/>
                  <a:gd name="T14" fmla="*/ 849 w 985"/>
                  <a:gd name="T15" fmla="*/ 124 h 1384"/>
                  <a:gd name="T16" fmla="*/ 779 w 985"/>
                  <a:gd name="T17" fmla="*/ 268 h 1384"/>
                  <a:gd name="T18" fmla="*/ 673 w 985"/>
                  <a:gd name="T19" fmla="*/ 240 h 1384"/>
                  <a:gd name="T20" fmla="*/ 625 w 985"/>
                  <a:gd name="T21" fmla="*/ 282 h 1384"/>
                  <a:gd name="T22" fmla="*/ 547 w 985"/>
                  <a:gd name="T23" fmla="*/ 334 h 1384"/>
                  <a:gd name="T24" fmla="*/ 495 w 985"/>
                  <a:gd name="T25" fmla="*/ 462 h 1384"/>
                  <a:gd name="T26" fmla="*/ 433 w 985"/>
                  <a:gd name="T27" fmla="*/ 598 h 1384"/>
                  <a:gd name="T28" fmla="*/ 419 w 985"/>
                  <a:gd name="T29" fmla="*/ 760 h 1384"/>
                  <a:gd name="T30" fmla="*/ 339 w 985"/>
                  <a:gd name="T31" fmla="*/ 844 h 1384"/>
                  <a:gd name="T32" fmla="*/ 363 w 985"/>
                  <a:gd name="T33" fmla="*/ 1036 h 1384"/>
                  <a:gd name="T34" fmla="*/ 363 w 985"/>
                  <a:gd name="T35" fmla="*/ 1184 h 1384"/>
                  <a:gd name="T36" fmla="*/ 327 w 985"/>
                  <a:gd name="T37" fmla="*/ 1294 h 1384"/>
                  <a:gd name="T38" fmla="*/ 275 w 985"/>
                  <a:gd name="T39" fmla="*/ 1236 h 1384"/>
                  <a:gd name="T40" fmla="*/ 267 w 985"/>
                  <a:gd name="T41" fmla="*/ 1258 h 1384"/>
                  <a:gd name="T42" fmla="*/ 211 w 985"/>
                  <a:gd name="T43" fmla="*/ 1304 h 1384"/>
                  <a:gd name="T44" fmla="*/ 142 w 985"/>
                  <a:gd name="T45" fmla="*/ 1368 h 1384"/>
                  <a:gd name="T46" fmla="*/ 64 w 985"/>
                  <a:gd name="T47" fmla="*/ 1360 h 1384"/>
                  <a:gd name="T48" fmla="*/ 36 w 985"/>
                  <a:gd name="T49" fmla="*/ 1280 h 1384"/>
                  <a:gd name="T50" fmla="*/ 42 w 985"/>
                  <a:gd name="T51" fmla="*/ 1238 h 1384"/>
                  <a:gd name="T52" fmla="*/ 2 w 985"/>
                  <a:gd name="T53" fmla="*/ 1234 h 1384"/>
                  <a:gd name="T54" fmla="*/ 40 w 985"/>
                  <a:gd name="T55" fmla="*/ 1210 h 1384"/>
                  <a:gd name="T56" fmla="*/ 60 w 985"/>
                  <a:gd name="T57" fmla="*/ 1150 h 1384"/>
                  <a:gd name="T58" fmla="*/ 28 w 985"/>
                  <a:gd name="T59" fmla="*/ 1166 h 1384"/>
                  <a:gd name="T60" fmla="*/ 26 w 985"/>
                  <a:gd name="T61" fmla="*/ 1124 h 1384"/>
                  <a:gd name="T62" fmla="*/ 8 w 985"/>
                  <a:gd name="T63" fmla="*/ 1078 h 1384"/>
                  <a:gd name="T64" fmla="*/ 8 w 985"/>
                  <a:gd name="T65" fmla="*/ 1062 h 1384"/>
                  <a:gd name="T66" fmla="*/ 16 w 985"/>
                  <a:gd name="T67" fmla="*/ 1008 h 1384"/>
                  <a:gd name="T68" fmla="*/ 58 w 985"/>
                  <a:gd name="T69" fmla="*/ 966 h 1384"/>
                  <a:gd name="T70" fmla="*/ 84 w 985"/>
                  <a:gd name="T71" fmla="*/ 934 h 1384"/>
                  <a:gd name="T72" fmla="*/ 130 w 985"/>
                  <a:gd name="T73" fmla="*/ 898 h 1384"/>
                  <a:gd name="T74" fmla="*/ 162 w 985"/>
                  <a:gd name="T75" fmla="*/ 882 h 1384"/>
                  <a:gd name="T76" fmla="*/ 162 w 985"/>
                  <a:gd name="T77" fmla="*/ 832 h 1384"/>
                  <a:gd name="T78" fmla="*/ 221 w 985"/>
                  <a:gd name="T79" fmla="*/ 838 h 1384"/>
                  <a:gd name="T80" fmla="*/ 283 w 985"/>
                  <a:gd name="T81" fmla="*/ 742 h 1384"/>
                  <a:gd name="T82" fmla="*/ 339 w 985"/>
                  <a:gd name="T83" fmla="*/ 684 h 1384"/>
                  <a:gd name="T84" fmla="*/ 355 w 985"/>
                  <a:gd name="T85" fmla="*/ 594 h 1384"/>
                  <a:gd name="T86" fmla="*/ 375 w 985"/>
                  <a:gd name="T87" fmla="*/ 540 h 1384"/>
                  <a:gd name="T88" fmla="*/ 393 w 985"/>
                  <a:gd name="T89" fmla="*/ 492 h 1384"/>
                  <a:gd name="T90" fmla="*/ 421 w 985"/>
                  <a:gd name="T91" fmla="*/ 462 h 1384"/>
                  <a:gd name="T92" fmla="*/ 439 w 985"/>
                  <a:gd name="T93" fmla="*/ 418 h 1384"/>
                  <a:gd name="T94" fmla="*/ 447 w 985"/>
                  <a:gd name="T95" fmla="*/ 374 h 1384"/>
                  <a:gd name="T96" fmla="*/ 491 w 985"/>
                  <a:gd name="T97" fmla="*/ 354 h 1384"/>
                  <a:gd name="T98" fmla="*/ 485 w 985"/>
                  <a:gd name="T99" fmla="*/ 316 h 1384"/>
                  <a:gd name="T100" fmla="*/ 529 w 985"/>
                  <a:gd name="T101" fmla="*/ 258 h 1384"/>
                  <a:gd name="T102" fmla="*/ 575 w 985"/>
                  <a:gd name="T103" fmla="*/ 186 h 1384"/>
                  <a:gd name="T104" fmla="*/ 611 w 985"/>
                  <a:gd name="T105" fmla="*/ 208 h 1384"/>
                  <a:gd name="T106" fmla="*/ 639 w 985"/>
                  <a:gd name="T107" fmla="*/ 164 h 1384"/>
                  <a:gd name="T108" fmla="*/ 643 w 985"/>
                  <a:gd name="T109" fmla="*/ 128 h 1384"/>
                  <a:gd name="T110" fmla="*/ 705 w 985"/>
                  <a:gd name="T111" fmla="*/ 126 h 1384"/>
                  <a:gd name="T112" fmla="*/ 709 w 985"/>
                  <a:gd name="T113" fmla="*/ 70 h 1384"/>
                  <a:gd name="T114" fmla="*/ 735 w 985"/>
                  <a:gd name="T115" fmla="*/ 38 h 1384"/>
                  <a:gd name="T116" fmla="*/ 763 w 985"/>
                  <a:gd name="T117" fmla="*/ 32 h 1384"/>
                  <a:gd name="T118" fmla="*/ 777 w 985"/>
                  <a:gd name="T119" fmla="*/ 34 h 1384"/>
                  <a:gd name="T120" fmla="*/ 763 w 985"/>
                  <a:gd name="T121" fmla="*/ 112 h 1384"/>
                  <a:gd name="T122" fmla="*/ 795 w 985"/>
                  <a:gd name="T123" fmla="*/ 36 h 1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5" h="1384">
                    <a:moveTo>
                      <a:pt x="795" y="36"/>
                    </a:moveTo>
                    <a:lnTo>
                      <a:pt x="799" y="26"/>
                    </a:lnTo>
                    <a:lnTo>
                      <a:pt x="807" y="26"/>
                    </a:lnTo>
                    <a:lnTo>
                      <a:pt x="809" y="36"/>
                    </a:lnTo>
                    <a:lnTo>
                      <a:pt x="811" y="50"/>
                    </a:lnTo>
                    <a:lnTo>
                      <a:pt x="805" y="56"/>
                    </a:lnTo>
                    <a:lnTo>
                      <a:pt x="811" y="58"/>
                    </a:lnTo>
                    <a:lnTo>
                      <a:pt x="813" y="66"/>
                    </a:lnTo>
                    <a:lnTo>
                      <a:pt x="815" y="78"/>
                    </a:lnTo>
                    <a:lnTo>
                      <a:pt x="825" y="70"/>
                    </a:lnTo>
                    <a:lnTo>
                      <a:pt x="829" y="66"/>
                    </a:lnTo>
                    <a:lnTo>
                      <a:pt x="827" y="56"/>
                    </a:lnTo>
                    <a:lnTo>
                      <a:pt x="825" y="42"/>
                    </a:lnTo>
                    <a:lnTo>
                      <a:pt x="827" y="38"/>
                    </a:lnTo>
                    <a:lnTo>
                      <a:pt x="831" y="32"/>
                    </a:lnTo>
                    <a:lnTo>
                      <a:pt x="833" y="28"/>
                    </a:lnTo>
                    <a:lnTo>
                      <a:pt x="835" y="26"/>
                    </a:lnTo>
                    <a:lnTo>
                      <a:pt x="823" y="26"/>
                    </a:lnTo>
                    <a:lnTo>
                      <a:pt x="821" y="16"/>
                    </a:lnTo>
                    <a:lnTo>
                      <a:pt x="827" y="10"/>
                    </a:lnTo>
                    <a:lnTo>
                      <a:pt x="833" y="0"/>
                    </a:lnTo>
                    <a:lnTo>
                      <a:pt x="845" y="4"/>
                    </a:lnTo>
                    <a:lnTo>
                      <a:pt x="853" y="6"/>
                    </a:lnTo>
                    <a:lnTo>
                      <a:pt x="867" y="8"/>
                    </a:lnTo>
                    <a:lnTo>
                      <a:pt x="865" y="18"/>
                    </a:lnTo>
                    <a:lnTo>
                      <a:pt x="861" y="26"/>
                    </a:lnTo>
                    <a:lnTo>
                      <a:pt x="849" y="30"/>
                    </a:lnTo>
                    <a:lnTo>
                      <a:pt x="855" y="34"/>
                    </a:lnTo>
                    <a:lnTo>
                      <a:pt x="853" y="44"/>
                    </a:lnTo>
                    <a:lnTo>
                      <a:pt x="863" y="38"/>
                    </a:lnTo>
                    <a:lnTo>
                      <a:pt x="865" y="44"/>
                    </a:lnTo>
                    <a:lnTo>
                      <a:pt x="861" y="50"/>
                    </a:lnTo>
                    <a:lnTo>
                      <a:pt x="859" y="58"/>
                    </a:lnTo>
                    <a:lnTo>
                      <a:pt x="869" y="60"/>
                    </a:lnTo>
                    <a:lnTo>
                      <a:pt x="877" y="52"/>
                    </a:lnTo>
                    <a:lnTo>
                      <a:pt x="873" y="40"/>
                    </a:lnTo>
                    <a:lnTo>
                      <a:pt x="873" y="28"/>
                    </a:lnTo>
                    <a:lnTo>
                      <a:pt x="877" y="12"/>
                    </a:lnTo>
                    <a:lnTo>
                      <a:pt x="887" y="12"/>
                    </a:lnTo>
                    <a:lnTo>
                      <a:pt x="897" y="18"/>
                    </a:lnTo>
                    <a:lnTo>
                      <a:pt x="903" y="28"/>
                    </a:lnTo>
                    <a:lnTo>
                      <a:pt x="909" y="22"/>
                    </a:lnTo>
                    <a:lnTo>
                      <a:pt x="917" y="26"/>
                    </a:lnTo>
                    <a:lnTo>
                      <a:pt x="925" y="20"/>
                    </a:lnTo>
                    <a:lnTo>
                      <a:pt x="931" y="28"/>
                    </a:lnTo>
                    <a:lnTo>
                      <a:pt x="937" y="32"/>
                    </a:lnTo>
                    <a:lnTo>
                      <a:pt x="935" y="38"/>
                    </a:lnTo>
                    <a:lnTo>
                      <a:pt x="947" y="36"/>
                    </a:lnTo>
                    <a:lnTo>
                      <a:pt x="953" y="40"/>
                    </a:lnTo>
                    <a:lnTo>
                      <a:pt x="967" y="40"/>
                    </a:lnTo>
                    <a:lnTo>
                      <a:pt x="967" y="50"/>
                    </a:lnTo>
                    <a:lnTo>
                      <a:pt x="959" y="56"/>
                    </a:lnTo>
                    <a:lnTo>
                      <a:pt x="957" y="62"/>
                    </a:lnTo>
                    <a:lnTo>
                      <a:pt x="951" y="66"/>
                    </a:lnTo>
                    <a:lnTo>
                      <a:pt x="951" y="74"/>
                    </a:lnTo>
                    <a:lnTo>
                      <a:pt x="941" y="86"/>
                    </a:lnTo>
                    <a:lnTo>
                      <a:pt x="893" y="88"/>
                    </a:lnTo>
                    <a:lnTo>
                      <a:pt x="893" y="96"/>
                    </a:lnTo>
                    <a:lnTo>
                      <a:pt x="925" y="96"/>
                    </a:lnTo>
                    <a:lnTo>
                      <a:pt x="931" y="102"/>
                    </a:lnTo>
                    <a:lnTo>
                      <a:pt x="941" y="102"/>
                    </a:lnTo>
                    <a:lnTo>
                      <a:pt x="949" y="108"/>
                    </a:lnTo>
                    <a:lnTo>
                      <a:pt x="955" y="102"/>
                    </a:lnTo>
                    <a:lnTo>
                      <a:pt x="961" y="108"/>
                    </a:lnTo>
                    <a:lnTo>
                      <a:pt x="967" y="114"/>
                    </a:lnTo>
                    <a:lnTo>
                      <a:pt x="969" y="104"/>
                    </a:lnTo>
                    <a:lnTo>
                      <a:pt x="979" y="106"/>
                    </a:lnTo>
                    <a:lnTo>
                      <a:pt x="985" y="124"/>
                    </a:lnTo>
                    <a:lnTo>
                      <a:pt x="979" y="130"/>
                    </a:lnTo>
                    <a:lnTo>
                      <a:pt x="961" y="126"/>
                    </a:lnTo>
                    <a:lnTo>
                      <a:pt x="959" y="150"/>
                    </a:lnTo>
                    <a:lnTo>
                      <a:pt x="939" y="164"/>
                    </a:lnTo>
                    <a:lnTo>
                      <a:pt x="941" y="190"/>
                    </a:lnTo>
                    <a:lnTo>
                      <a:pt x="933" y="198"/>
                    </a:lnTo>
                    <a:lnTo>
                      <a:pt x="923" y="188"/>
                    </a:lnTo>
                    <a:lnTo>
                      <a:pt x="923" y="178"/>
                    </a:lnTo>
                    <a:lnTo>
                      <a:pt x="931" y="160"/>
                    </a:lnTo>
                    <a:lnTo>
                      <a:pt x="931" y="146"/>
                    </a:lnTo>
                    <a:lnTo>
                      <a:pt x="919" y="132"/>
                    </a:lnTo>
                    <a:lnTo>
                      <a:pt x="911" y="128"/>
                    </a:lnTo>
                    <a:lnTo>
                      <a:pt x="895" y="128"/>
                    </a:lnTo>
                    <a:lnTo>
                      <a:pt x="891" y="122"/>
                    </a:lnTo>
                    <a:lnTo>
                      <a:pt x="885" y="120"/>
                    </a:lnTo>
                    <a:lnTo>
                      <a:pt x="877" y="112"/>
                    </a:lnTo>
                    <a:lnTo>
                      <a:pt x="865" y="100"/>
                    </a:lnTo>
                    <a:lnTo>
                      <a:pt x="863" y="104"/>
                    </a:lnTo>
                    <a:lnTo>
                      <a:pt x="857" y="110"/>
                    </a:lnTo>
                    <a:lnTo>
                      <a:pt x="849" y="124"/>
                    </a:lnTo>
                    <a:lnTo>
                      <a:pt x="833" y="126"/>
                    </a:lnTo>
                    <a:lnTo>
                      <a:pt x="819" y="132"/>
                    </a:lnTo>
                    <a:lnTo>
                      <a:pt x="819" y="144"/>
                    </a:lnTo>
                    <a:lnTo>
                      <a:pt x="811" y="162"/>
                    </a:lnTo>
                    <a:lnTo>
                      <a:pt x="813" y="212"/>
                    </a:lnTo>
                    <a:lnTo>
                      <a:pt x="821" y="224"/>
                    </a:lnTo>
                    <a:lnTo>
                      <a:pt x="815" y="240"/>
                    </a:lnTo>
                    <a:lnTo>
                      <a:pt x="803" y="250"/>
                    </a:lnTo>
                    <a:lnTo>
                      <a:pt x="799" y="268"/>
                    </a:lnTo>
                    <a:lnTo>
                      <a:pt x="795" y="278"/>
                    </a:lnTo>
                    <a:lnTo>
                      <a:pt x="779" y="268"/>
                    </a:lnTo>
                    <a:lnTo>
                      <a:pt x="763" y="264"/>
                    </a:lnTo>
                    <a:lnTo>
                      <a:pt x="755" y="258"/>
                    </a:lnTo>
                    <a:lnTo>
                      <a:pt x="749" y="264"/>
                    </a:lnTo>
                    <a:lnTo>
                      <a:pt x="745" y="274"/>
                    </a:lnTo>
                    <a:lnTo>
                      <a:pt x="733" y="282"/>
                    </a:lnTo>
                    <a:lnTo>
                      <a:pt x="719" y="282"/>
                    </a:lnTo>
                    <a:lnTo>
                      <a:pt x="701" y="280"/>
                    </a:lnTo>
                    <a:lnTo>
                      <a:pt x="695" y="272"/>
                    </a:lnTo>
                    <a:lnTo>
                      <a:pt x="687" y="260"/>
                    </a:lnTo>
                    <a:lnTo>
                      <a:pt x="679" y="250"/>
                    </a:lnTo>
                    <a:lnTo>
                      <a:pt x="673" y="240"/>
                    </a:lnTo>
                    <a:lnTo>
                      <a:pt x="663" y="230"/>
                    </a:lnTo>
                    <a:lnTo>
                      <a:pt x="653" y="228"/>
                    </a:lnTo>
                    <a:lnTo>
                      <a:pt x="645" y="232"/>
                    </a:lnTo>
                    <a:lnTo>
                      <a:pt x="643" y="242"/>
                    </a:lnTo>
                    <a:lnTo>
                      <a:pt x="649" y="250"/>
                    </a:lnTo>
                    <a:lnTo>
                      <a:pt x="645" y="254"/>
                    </a:lnTo>
                    <a:lnTo>
                      <a:pt x="637" y="250"/>
                    </a:lnTo>
                    <a:lnTo>
                      <a:pt x="633" y="256"/>
                    </a:lnTo>
                    <a:lnTo>
                      <a:pt x="629" y="258"/>
                    </a:lnTo>
                    <a:lnTo>
                      <a:pt x="615" y="262"/>
                    </a:lnTo>
                    <a:lnTo>
                      <a:pt x="625" y="282"/>
                    </a:lnTo>
                    <a:lnTo>
                      <a:pt x="623" y="292"/>
                    </a:lnTo>
                    <a:lnTo>
                      <a:pt x="615" y="308"/>
                    </a:lnTo>
                    <a:lnTo>
                      <a:pt x="617" y="316"/>
                    </a:lnTo>
                    <a:lnTo>
                      <a:pt x="625" y="316"/>
                    </a:lnTo>
                    <a:lnTo>
                      <a:pt x="625" y="322"/>
                    </a:lnTo>
                    <a:lnTo>
                      <a:pt x="613" y="330"/>
                    </a:lnTo>
                    <a:lnTo>
                      <a:pt x="583" y="320"/>
                    </a:lnTo>
                    <a:lnTo>
                      <a:pt x="569" y="322"/>
                    </a:lnTo>
                    <a:lnTo>
                      <a:pt x="555" y="318"/>
                    </a:lnTo>
                    <a:lnTo>
                      <a:pt x="545" y="322"/>
                    </a:lnTo>
                    <a:lnTo>
                      <a:pt x="547" y="334"/>
                    </a:lnTo>
                    <a:lnTo>
                      <a:pt x="549" y="344"/>
                    </a:lnTo>
                    <a:lnTo>
                      <a:pt x="549" y="362"/>
                    </a:lnTo>
                    <a:lnTo>
                      <a:pt x="545" y="376"/>
                    </a:lnTo>
                    <a:lnTo>
                      <a:pt x="535" y="376"/>
                    </a:lnTo>
                    <a:lnTo>
                      <a:pt x="529" y="370"/>
                    </a:lnTo>
                    <a:lnTo>
                      <a:pt x="517" y="370"/>
                    </a:lnTo>
                    <a:lnTo>
                      <a:pt x="501" y="388"/>
                    </a:lnTo>
                    <a:lnTo>
                      <a:pt x="495" y="422"/>
                    </a:lnTo>
                    <a:lnTo>
                      <a:pt x="479" y="438"/>
                    </a:lnTo>
                    <a:lnTo>
                      <a:pt x="487" y="452"/>
                    </a:lnTo>
                    <a:lnTo>
                      <a:pt x="495" y="462"/>
                    </a:lnTo>
                    <a:lnTo>
                      <a:pt x="493" y="482"/>
                    </a:lnTo>
                    <a:lnTo>
                      <a:pt x="479" y="494"/>
                    </a:lnTo>
                    <a:lnTo>
                      <a:pt x="479" y="504"/>
                    </a:lnTo>
                    <a:lnTo>
                      <a:pt x="469" y="524"/>
                    </a:lnTo>
                    <a:lnTo>
                      <a:pt x="459" y="536"/>
                    </a:lnTo>
                    <a:lnTo>
                      <a:pt x="463" y="544"/>
                    </a:lnTo>
                    <a:lnTo>
                      <a:pt x="463" y="558"/>
                    </a:lnTo>
                    <a:lnTo>
                      <a:pt x="447" y="572"/>
                    </a:lnTo>
                    <a:lnTo>
                      <a:pt x="429" y="576"/>
                    </a:lnTo>
                    <a:lnTo>
                      <a:pt x="429" y="588"/>
                    </a:lnTo>
                    <a:lnTo>
                      <a:pt x="433" y="598"/>
                    </a:lnTo>
                    <a:lnTo>
                      <a:pt x="429" y="652"/>
                    </a:lnTo>
                    <a:lnTo>
                      <a:pt x="429" y="656"/>
                    </a:lnTo>
                    <a:lnTo>
                      <a:pt x="423" y="676"/>
                    </a:lnTo>
                    <a:lnTo>
                      <a:pt x="419" y="690"/>
                    </a:lnTo>
                    <a:lnTo>
                      <a:pt x="411" y="706"/>
                    </a:lnTo>
                    <a:lnTo>
                      <a:pt x="405" y="714"/>
                    </a:lnTo>
                    <a:lnTo>
                      <a:pt x="399" y="726"/>
                    </a:lnTo>
                    <a:lnTo>
                      <a:pt x="399" y="736"/>
                    </a:lnTo>
                    <a:lnTo>
                      <a:pt x="409" y="738"/>
                    </a:lnTo>
                    <a:lnTo>
                      <a:pt x="419" y="742"/>
                    </a:lnTo>
                    <a:lnTo>
                      <a:pt x="419" y="760"/>
                    </a:lnTo>
                    <a:lnTo>
                      <a:pt x="423" y="772"/>
                    </a:lnTo>
                    <a:lnTo>
                      <a:pt x="415" y="788"/>
                    </a:lnTo>
                    <a:lnTo>
                      <a:pt x="403" y="786"/>
                    </a:lnTo>
                    <a:lnTo>
                      <a:pt x="395" y="784"/>
                    </a:lnTo>
                    <a:lnTo>
                      <a:pt x="377" y="784"/>
                    </a:lnTo>
                    <a:lnTo>
                      <a:pt x="365" y="790"/>
                    </a:lnTo>
                    <a:lnTo>
                      <a:pt x="357" y="800"/>
                    </a:lnTo>
                    <a:lnTo>
                      <a:pt x="353" y="808"/>
                    </a:lnTo>
                    <a:lnTo>
                      <a:pt x="351" y="812"/>
                    </a:lnTo>
                    <a:lnTo>
                      <a:pt x="339" y="834"/>
                    </a:lnTo>
                    <a:lnTo>
                      <a:pt x="339" y="844"/>
                    </a:lnTo>
                    <a:lnTo>
                      <a:pt x="331" y="866"/>
                    </a:lnTo>
                    <a:lnTo>
                      <a:pt x="341" y="886"/>
                    </a:lnTo>
                    <a:lnTo>
                      <a:pt x="341" y="896"/>
                    </a:lnTo>
                    <a:lnTo>
                      <a:pt x="335" y="906"/>
                    </a:lnTo>
                    <a:lnTo>
                      <a:pt x="339" y="914"/>
                    </a:lnTo>
                    <a:lnTo>
                      <a:pt x="339" y="942"/>
                    </a:lnTo>
                    <a:lnTo>
                      <a:pt x="351" y="964"/>
                    </a:lnTo>
                    <a:lnTo>
                      <a:pt x="343" y="994"/>
                    </a:lnTo>
                    <a:lnTo>
                      <a:pt x="345" y="1020"/>
                    </a:lnTo>
                    <a:lnTo>
                      <a:pt x="357" y="1034"/>
                    </a:lnTo>
                    <a:lnTo>
                      <a:pt x="363" y="1036"/>
                    </a:lnTo>
                    <a:lnTo>
                      <a:pt x="377" y="1050"/>
                    </a:lnTo>
                    <a:lnTo>
                      <a:pt x="379" y="1058"/>
                    </a:lnTo>
                    <a:lnTo>
                      <a:pt x="375" y="1074"/>
                    </a:lnTo>
                    <a:lnTo>
                      <a:pt x="371" y="1084"/>
                    </a:lnTo>
                    <a:lnTo>
                      <a:pt x="355" y="1088"/>
                    </a:lnTo>
                    <a:lnTo>
                      <a:pt x="351" y="1098"/>
                    </a:lnTo>
                    <a:lnTo>
                      <a:pt x="355" y="1106"/>
                    </a:lnTo>
                    <a:lnTo>
                      <a:pt x="363" y="1128"/>
                    </a:lnTo>
                    <a:lnTo>
                      <a:pt x="369" y="1140"/>
                    </a:lnTo>
                    <a:lnTo>
                      <a:pt x="365" y="1156"/>
                    </a:lnTo>
                    <a:lnTo>
                      <a:pt x="363" y="1184"/>
                    </a:lnTo>
                    <a:lnTo>
                      <a:pt x="349" y="1198"/>
                    </a:lnTo>
                    <a:lnTo>
                      <a:pt x="337" y="1198"/>
                    </a:lnTo>
                    <a:lnTo>
                      <a:pt x="331" y="1204"/>
                    </a:lnTo>
                    <a:lnTo>
                      <a:pt x="335" y="1208"/>
                    </a:lnTo>
                    <a:lnTo>
                      <a:pt x="333" y="1222"/>
                    </a:lnTo>
                    <a:lnTo>
                      <a:pt x="325" y="1226"/>
                    </a:lnTo>
                    <a:lnTo>
                      <a:pt x="329" y="1240"/>
                    </a:lnTo>
                    <a:lnTo>
                      <a:pt x="333" y="1250"/>
                    </a:lnTo>
                    <a:lnTo>
                      <a:pt x="333" y="1270"/>
                    </a:lnTo>
                    <a:lnTo>
                      <a:pt x="331" y="1280"/>
                    </a:lnTo>
                    <a:lnTo>
                      <a:pt x="327" y="1294"/>
                    </a:lnTo>
                    <a:lnTo>
                      <a:pt x="321" y="1298"/>
                    </a:lnTo>
                    <a:lnTo>
                      <a:pt x="315" y="1292"/>
                    </a:lnTo>
                    <a:lnTo>
                      <a:pt x="313" y="1282"/>
                    </a:lnTo>
                    <a:lnTo>
                      <a:pt x="307" y="1276"/>
                    </a:lnTo>
                    <a:lnTo>
                      <a:pt x="297" y="1288"/>
                    </a:lnTo>
                    <a:lnTo>
                      <a:pt x="297" y="1276"/>
                    </a:lnTo>
                    <a:lnTo>
                      <a:pt x="287" y="1274"/>
                    </a:lnTo>
                    <a:lnTo>
                      <a:pt x="281" y="1266"/>
                    </a:lnTo>
                    <a:lnTo>
                      <a:pt x="275" y="1256"/>
                    </a:lnTo>
                    <a:lnTo>
                      <a:pt x="275" y="1242"/>
                    </a:lnTo>
                    <a:lnTo>
                      <a:pt x="275" y="1236"/>
                    </a:lnTo>
                    <a:lnTo>
                      <a:pt x="275" y="1230"/>
                    </a:lnTo>
                    <a:lnTo>
                      <a:pt x="279" y="1218"/>
                    </a:lnTo>
                    <a:lnTo>
                      <a:pt x="281" y="1208"/>
                    </a:lnTo>
                    <a:lnTo>
                      <a:pt x="277" y="1204"/>
                    </a:lnTo>
                    <a:lnTo>
                      <a:pt x="275" y="1208"/>
                    </a:lnTo>
                    <a:lnTo>
                      <a:pt x="271" y="1222"/>
                    </a:lnTo>
                    <a:lnTo>
                      <a:pt x="263" y="1230"/>
                    </a:lnTo>
                    <a:lnTo>
                      <a:pt x="259" y="1238"/>
                    </a:lnTo>
                    <a:lnTo>
                      <a:pt x="259" y="1244"/>
                    </a:lnTo>
                    <a:lnTo>
                      <a:pt x="265" y="1246"/>
                    </a:lnTo>
                    <a:lnTo>
                      <a:pt x="267" y="1258"/>
                    </a:lnTo>
                    <a:lnTo>
                      <a:pt x="261" y="1264"/>
                    </a:lnTo>
                    <a:lnTo>
                      <a:pt x="259" y="1272"/>
                    </a:lnTo>
                    <a:lnTo>
                      <a:pt x="255" y="1284"/>
                    </a:lnTo>
                    <a:lnTo>
                      <a:pt x="249" y="1286"/>
                    </a:lnTo>
                    <a:lnTo>
                      <a:pt x="245" y="1288"/>
                    </a:lnTo>
                    <a:lnTo>
                      <a:pt x="241" y="1292"/>
                    </a:lnTo>
                    <a:lnTo>
                      <a:pt x="235" y="1290"/>
                    </a:lnTo>
                    <a:lnTo>
                      <a:pt x="229" y="1286"/>
                    </a:lnTo>
                    <a:lnTo>
                      <a:pt x="223" y="1294"/>
                    </a:lnTo>
                    <a:lnTo>
                      <a:pt x="215" y="1302"/>
                    </a:lnTo>
                    <a:lnTo>
                      <a:pt x="211" y="1304"/>
                    </a:lnTo>
                    <a:lnTo>
                      <a:pt x="211" y="1310"/>
                    </a:lnTo>
                    <a:lnTo>
                      <a:pt x="203" y="1316"/>
                    </a:lnTo>
                    <a:lnTo>
                      <a:pt x="201" y="1320"/>
                    </a:lnTo>
                    <a:lnTo>
                      <a:pt x="194" y="1330"/>
                    </a:lnTo>
                    <a:lnTo>
                      <a:pt x="188" y="1330"/>
                    </a:lnTo>
                    <a:lnTo>
                      <a:pt x="184" y="1340"/>
                    </a:lnTo>
                    <a:lnTo>
                      <a:pt x="178" y="1344"/>
                    </a:lnTo>
                    <a:lnTo>
                      <a:pt x="174" y="1354"/>
                    </a:lnTo>
                    <a:lnTo>
                      <a:pt x="160" y="1364"/>
                    </a:lnTo>
                    <a:lnTo>
                      <a:pt x="144" y="1374"/>
                    </a:lnTo>
                    <a:lnTo>
                      <a:pt x="142" y="1368"/>
                    </a:lnTo>
                    <a:lnTo>
                      <a:pt x="136" y="1378"/>
                    </a:lnTo>
                    <a:lnTo>
                      <a:pt x="122" y="1380"/>
                    </a:lnTo>
                    <a:lnTo>
                      <a:pt x="110" y="1384"/>
                    </a:lnTo>
                    <a:lnTo>
                      <a:pt x="96" y="1382"/>
                    </a:lnTo>
                    <a:lnTo>
                      <a:pt x="92" y="1378"/>
                    </a:lnTo>
                    <a:lnTo>
                      <a:pt x="74" y="1378"/>
                    </a:lnTo>
                    <a:lnTo>
                      <a:pt x="66" y="1372"/>
                    </a:lnTo>
                    <a:lnTo>
                      <a:pt x="68" y="1366"/>
                    </a:lnTo>
                    <a:lnTo>
                      <a:pt x="74" y="1360"/>
                    </a:lnTo>
                    <a:lnTo>
                      <a:pt x="72" y="1358"/>
                    </a:lnTo>
                    <a:lnTo>
                      <a:pt x="64" y="1360"/>
                    </a:lnTo>
                    <a:lnTo>
                      <a:pt x="52" y="1352"/>
                    </a:lnTo>
                    <a:lnTo>
                      <a:pt x="36" y="1342"/>
                    </a:lnTo>
                    <a:lnTo>
                      <a:pt x="24" y="1330"/>
                    </a:lnTo>
                    <a:lnTo>
                      <a:pt x="14" y="1316"/>
                    </a:lnTo>
                    <a:lnTo>
                      <a:pt x="14" y="1298"/>
                    </a:lnTo>
                    <a:lnTo>
                      <a:pt x="20" y="1290"/>
                    </a:lnTo>
                    <a:lnTo>
                      <a:pt x="30" y="1290"/>
                    </a:lnTo>
                    <a:lnTo>
                      <a:pt x="40" y="1294"/>
                    </a:lnTo>
                    <a:lnTo>
                      <a:pt x="54" y="1284"/>
                    </a:lnTo>
                    <a:lnTo>
                      <a:pt x="46" y="1284"/>
                    </a:lnTo>
                    <a:lnTo>
                      <a:pt x="36" y="1280"/>
                    </a:lnTo>
                    <a:lnTo>
                      <a:pt x="38" y="1270"/>
                    </a:lnTo>
                    <a:lnTo>
                      <a:pt x="44" y="1264"/>
                    </a:lnTo>
                    <a:lnTo>
                      <a:pt x="54" y="1258"/>
                    </a:lnTo>
                    <a:lnTo>
                      <a:pt x="60" y="1256"/>
                    </a:lnTo>
                    <a:lnTo>
                      <a:pt x="54" y="1256"/>
                    </a:lnTo>
                    <a:lnTo>
                      <a:pt x="44" y="1254"/>
                    </a:lnTo>
                    <a:lnTo>
                      <a:pt x="40" y="1248"/>
                    </a:lnTo>
                    <a:lnTo>
                      <a:pt x="48" y="1242"/>
                    </a:lnTo>
                    <a:lnTo>
                      <a:pt x="52" y="1238"/>
                    </a:lnTo>
                    <a:lnTo>
                      <a:pt x="50" y="1232"/>
                    </a:lnTo>
                    <a:lnTo>
                      <a:pt x="42" y="1238"/>
                    </a:lnTo>
                    <a:lnTo>
                      <a:pt x="38" y="1244"/>
                    </a:lnTo>
                    <a:lnTo>
                      <a:pt x="36" y="1250"/>
                    </a:lnTo>
                    <a:lnTo>
                      <a:pt x="30" y="1254"/>
                    </a:lnTo>
                    <a:lnTo>
                      <a:pt x="24" y="1248"/>
                    </a:lnTo>
                    <a:lnTo>
                      <a:pt x="22" y="1252"/>
                    </a:lnTo>
                    <a:lnTo>
                      <a:pt x="16" y="1256"/>
                    </a:lnTo>
                    <a:lnTo>
                      <a:pt x="12" y="1262"/>
                    </a:lnTo>
                    <a:lnTo>
                      <a:pt x="4" y="1254"/>
                    </a:lnTo>
                    <a:lnTo>
                      <a:pt x="10" y="1248"/>
                    </a:lnTo>
                    <a:lnTo>
                      <a:pt x="2" y="1242"/>
                    </a:lnTo>
                    <a:lnTo>
                      <a:pt x="2" y="1234"/>
                    </a:lnTo>
                    <a:lnTo>
                      <a:pt x="12" y="1232"/>
                    </a:lnTo>
                    <a:lnTo>
                      <a:pt x="10" y="1218"/>
                    </a:lnTo>
                    <a:lnTo>
                      <a:pt x="12" y="1216"/>
                    </a:lnTo>
                    <a:lnTo>
                      <a:pt x="16" y="1214"/>
                    </a:lnTo>
                    <a:lnTo>
                      <a:pt x="22" y="1218"/>
                    </a:lnTo>
                    <a:lnTo>
                      <a:pt x="28" y="1220"/>
                    </a:lnTo>
                    <a:lnTo>
                      <a:pt x="34" y="1218"/>
                    </a:lnTo>
                    <a:lnTo>
                      <a:pt x="40" y="1214"/>
                    </a:lnTo>
                    <a:lnTo>
                      <a:pt x="48" y="1212"/>
                    </a:lnTo>
                    <a:lnTo>
                      <a:pt x="52" y="1206"/>
                    </a:lnTo>
                    <a:lnTo>
                      <a:pt x="40" y="1210"/>
                    </a:lnTo>
                    <a:lnTo>
                      <a:pt x="34" y="1206"/>
                    </a:lnTo>
                    <a:lnTo>
                      <a:pt x="30" y="1206"/>
                    </a:lnTo>
                    <a:lnTo>
                      <a:pt x="28" y="1198"/>
                    </a:lnTo>
                    <a:lnTo>
                      <a:pt x="32" y="1196"/>
                    </a:lnTo>
                    <a:lnTo>
                      <a:pt x="44" y="1188"/>
                    </a:lnTo>
                    <a:lnTo>
                      <a:pt x="52" y="1178"/>
                    </a:lnTo>
                    <a:lnTo>
                      <a:pt x="58" y="1174"/>
                    </a:lnTo>
                    <a:lnTo>
                      <a:pt x="52" y="1168"/>
                    </a:lnTo>
                    <a:lnTo>
                      <a:pt x="58" y="1160"/>
                    </a:lnTo>
                    <a:lnTo>
                      <a:pt x="62" y="1152"/>
                    </a:lnTo>
                    <a:lnTo>
                      <a:pt x="60" y="1150"/>
                    </a:lnTo>
                    <a:lnTo>
                      <a:pt x="50" y="1160"/>
                    </a:lnTo>
                    <a:lnTo>
                      <a:pt x="44" y="1166"/>
                    </a:lnTo>
                    <a:lnTo>
                      <a:pt x="42" y="1174"/>
                    </a:lnTo>
                    <a:lnTo>
                      <a:pt x="36" y="1180"/>
                    </a:lnTo>
                    <a:lnTo>
                      <a:pt x="32" y="1182"/>
                    </a:lnTo>
                    <a:lnTo>
                      <a:pt x="26" y="1188"/>
                    </a:lnTo>
                    <a:lnTo>
                      <a:pt x="24" y="1200"/>
                    </a:lnTo>
                    <a:lnTo>
                      <a:pt x="18" y="1190"/>
                    </a:lnTo>
                    <a:lnTo>
                      <a:pt x="20" y="1182"/>
                    </a:lnTo>
                    <a:lnTo>
                      <a:pt x="28" y="1174"/>
                    </a:lnTo>
                    <a:lnTo>
                      <a:pt x="28" y="1166"/>
                    </a:lnTo>
                    <a:lnTo>
                      <a:pt x="14" y="1166"/>
                    </a:lnTo>
                    <a:lnTo>
                      <a:pt x="12" y="1158"/>
                    </a:lnTo>
                    <a:lnTo>
                      <a:pt x="6" y="1152"/>
                    </a:lnTo>
                    <a:lnTo>
                      <a:pt x="10" y="1144"/>
                    </a:lnTo>
                    <a:lnTo>
                      <a:pt x="14" y="1136"/>
                    </a:lnTo>
                    <a:lnTo>
                      <a:pt x="16" y="1138"/>
                    </a:lnTo>
                    <a:lnTo>
                      <a:pt x="22" y="1140"/>
                    </a:lnTo>
                    <a:lnTo>
                      <a:pt x="28" y="1138"/>
                    </a:lnTo>
                    <a:lnTo>
                      <a:pt x="18" y="1132"/>
                    </a:lnTo>
                    <a:lnTo>
                      <a:pt x="18" y="1126"/>
                    </a:lnTo>
                    <a:lnTo>
                      <a:pt x="26" y="1124"/>
                    </a:lnTo>
                    <a:lnTo>
                      <a:pt x="12" y="1128"/>
                    </a:lnTo>
                    <a:lnTo>
                      <a:pt x="6" y="1122"/>
                    </a:lnTo>
                    <a:lnTo>
                      <a:pt x="6" y="1110"/>
                    </a:lnTo>
                    <a:lnTo>
                      <a:pt x="10" y="1108"/>
                    </a:lnTo>
                    <a:lnTo>
                      <a:pt x="8" y="1104"/>
                    </a:lnTo>
                    <a:lnTo>
                      <a:pt x="16" y="1102"/>
                    </a:lnTo>
                    <a:lnTo>
                      <a:pt x="4" y="1100"/>
                    </a:lnTo>
                    <a:lnTo>
                      <a:pt x="0" y="1094"/>
                    </a:lnTo>
                    <a:lnTo>
                      <a:pt x="4" y="1086"/>
                    </a:lnTo>
                    <a:lnTo>
                      <a:pt x="2" y="1080"/>
                    </a:lnTo>
                    <a:lnTo>
                      <a:pt x="8" y="1078"/>
                    </a:lnTo>
                    <a:lnTo>
                      <a:pt x="16" y="1084"/>
                    </a:lnTo>
                    <a:lnTo>
                      <a:pt x="24" y="1082"/>
                    </a:lnTo>
                    <a:lnTo>
                      <a:pt x="32" y="1078"/>
                    </a:lnTo>
                    <a:lnTo>
                      <a:pt x="44" y="1078"/>
                    </a:lnTo>
                    <a:lnTo>
                      <a:pt x="54" y="1078"/>
                    </a:lnTo>
                    <a:lnTo>
                      <a:pt x="46" y="1072"/>
                    </a:lnTo>
                    <a:lnTo>
                      <a:pt x="36" y="1072"/>
                    </a:lnTo>
                    <a:lnTo>
                      <a:pt x="30" y="1074"/>
                    </a:lnTo>
                    <a:lnTo>
                      <a:pt x="20" y="1076"/>
                    </a:lnTo>
                    <a:lnTo>
                      <a:pt x="12" y="1070"/>
                    </a:lnTo>
                    <a:lnTo>
                      <a:pt x="8" y="1062"/>
                    </a:lnTo>
                    <a:lnTo>
                      <a:pt x="6" y="1056"/>
                    </a:lnTo>
                    <a:lnTo>
                      <a:pt x="16" y="1050"/>
                    </a:lnTo>
                    <a:lnTo>
                      <a:pt x="10" y="1050"/>
                    </a:lnTo>
                    <a:lnTo>
                      <a:pt x="4" y="1046"/>
                    </a:lnTo>
                    <a:lnTo>
                      <a:pt x="10" y="1042"/>
                    </a:lnTo>
                    <a:lnTo>
                      <a:pt x="12" y="1034"/>
                    </a:lnTo>
                    <a:lnTo>
                      <a:pt x="8" y="1028"/>
                    </a:lnTo>
                    <a:lnTo>
                      <a:pt x="6" y="1016"/>
                    </a:lnTo>
                    <a:lnTo>
                      <a:pt x="8" y="1014"/>
                    </a:lnTo>
                    <a:lnTo>
                      <a:pt x="10" y="1012"/>
                    </a:lnTo>
                    <a:lnTo>
                      <a:pt x="16" y="1008"/>
                    </a:lnTo>
                    <a:lnTo>
                      <a:pt x="20" y="1006"/>
                    </a:lnTo>
                    <a:lnTo>
                      <a:pt x="16" y="998"/>
                    </a:lnTo>
                    <a:lnTo>
                      <a:pt x="12" y="992"/>
                    </a:lnTo>
                    <a:lnTo>
                      <a:pt x="20" y="988"/>
                    </a:lnTo>
                    <a:lnTo>
                      <a:pt x="32" y="984"/>
                    </a:lnTo>
                    <a:lnTo>
                      <a:pt x="28" y="974"/>
                    </a:lnTo>
                    <a:lnTo>
                      <a:pt x="34" y="970"/>
                    </a:lnTo>
                    <a:lnTo>
                      <a:pt x="42" y="970"/>
                    </a:lnTo>
                    <a:lnTo>
                      <a:pt x="42" y="960"/>
                    </a:lnTo>
                    <a:lnTo>
                      <a:pt x="48" y="956"/>
                    </a:lnTo>
                    <a:lnTo>
                      <a:pt x="58" y="966"/>
                    </a:lnTo>
                    <a:lnTo>
                      <a:pt x="62" y="958"/>
                    </a:lnTo>
                    <a:lnTo>
                      <a:pt x="68" y="950"/>
                    </a:lnTo>
                    <a:lnTo>
                      <a:pt x="76" y="956"/>
                    </a:lnTo>
                    <a:lnTo>
                      <a:pt x="78" y="964"/>
                    </a:lnTo>
                    <a:lnTo>
                      <a:pt x="80" y="952"/>
                    </a:lnTo>
                    <a:lnTo>
                      <a:pt x="72" y="944"/>
                    </a:lnTo>
                    <a:lnTo>
                      <a:pt x="76" y="938"/>
                    </a:lnTo>
                    <a:lnTo>
                      <a:pt x="86" y="940"/>
                    </a:lnTo>
                    <a:lnTo>
                      <a:pt x="98" y="950"/>
                    </a:lnTo>
                    <a:lnTo>
                      <a:pt x="92" y="942"/>
                    </a:lnTo>
                    <a:lnTo>
                      <a:pt x="84" y="934"/>
                    </a:lnTo>
                    <a:lnTo>
                      <a:pt x="86" y="926"/>
                    </a:lnTo>
                    <a:lnTo>
                      <a:pt x="92" y="920"/>
                    </a:lnTo>
                    <a:lnTo>
                      <a:pt x="98" y="918"/>
                    </a:lnTo>
                    <a:lnTo>
                      <a:pt x="104" y="918"/>
                    </a:lnTo>
                    <a:lnTo>
                      <a:pt x="110" y="912"/>
                    </a:lnTo>
                    <a:lnTo>
                      <a:pt x="108" y="908"/>
                    </a:lnTo>
                    <a:lnTo>
                      <a:pt x="100" y="906"/>
                    </a:lnTo>
                    <a:lnTo>
                      <a:pt x="102" y="896"/>
                    </a:lnTo>
                    <a:lnTo>
                      <a:pt x="112" y="892"/>
                    </a:lnTo>
                    <a:lnTo>
                      <a:pt x="120" y="892"/>
                    </a:lnTo>
                    <a:lnTo>
                      <a:pt x="130" y="898"/>
                    </a:lnTo>
                    <a:lnTo>
                      <a:pt x="134" y="896"/>
                    </a:lnTo>
                    <a:lnTo>
                      <a:pt x="146" y="898"/>
                    </a:lnTo>
                    <a:lnTo>
                      <a:pt x="150" y="898"/>
                    </a:lnTo>
                    <a:lnTo>
                      <a:pt x="154" y="906"/>
                    </a:lnTo>
                    <a:lnTo>
                      <a:pt x="162" y="912"/>
                    </a:lnTo>
                    <a:lnTo>
                      <a:pt x="160" y="902"/>
                    </a:lnTo>
                    <a:lnTo>
                      <a:pt x="154" y="892"/>
                    </a:lnTo>
                    <a:lnTo>
                      <a:pt x="150" y="886"/>
                    </a:lnTo>
                    <a:lnTo>
                      <a:pt x="160" y="888"/>
                    </a:lnTo>
                    <a:lnTo>
                      <a:pt x="174" y="896"/>
                    </a:lnTo>
                    <a:lnTo>
                      <a:pt x="162" y="882"/>
                    </a:lnTo>
                    <a:lnTo>
                      <a:pt x="154" y="872"/>
                    </a:lnTo>
                    <a:lnTo>
                      <a:pt x="164" y="868"/>
                    </a:lnTo>
                    <a:lnTo>
                      <a:pt x="178" y="876"/>
                    </a:lnTo>
                    <a:lnTo>
                      <a:pt x="174" y="866"/>
                    </a:lnTo>
                    <a:lnTo>
                      <a:pt x="174" y="862"/>
                    </a:lnTo>
                    <a:lnTo>
                      <a:pt x="176" y="858"/>
                    </a:lnTo>
                    <a:lnTo>
                      <a:pt x="182" y="856"/>
                    </a:lnTo>
                    <a:lnTo>
                      <a:pt x="180" y="848"/>
                    </a:lnTo>
                    <a:lnTo>
                      <a:pt x="168" y="852"/>
                    </a:lnTo>
                    <a:lnTo>
                      <a:pt x="162" y="840"/>
                    </a:lnTo>
                    <a:lnTo>
                      <a:pt x="162" y="832"/>
                    </a:lnTo>
                    <a:lnTo>
                      <a:pt x="168" y="826"/>
                    </a:lnTo>
                    <a:lnTo>
                      <a:pt x="178" y="822"/>
                    </a:lnTo>
                    <a:lnTo>
                      <a:pt x="186" y="814"/>
                    </a:lnTo>
                    <a:lnTo>
                      <a:pt x="192" y="816"/>
                    </a:lnTo>
                    <a:lnTo>
                      <a:pt x="188" y="824"/>
                    </a:lnTo>
                    <a:lnTo>
                      <a:pt x="192" y="832"/>
                    </a:lnTo>
                    <a:lnTo>
                      <a:pt x="198" y="836"/>
                    </a:lnTo>
                    <a:lnTo>
                      <a:pt x="198" y="844"/>
                    </a:lnTo>
                    <a:lnTo>
                      <a:pt x="205" y="850"/>
                    </a:lnTo>
                    <a:lnTo>
                      <a:pt x="211" y="842"/>
                    </a:lnTo>
                    <a:lnTo>
                      <a:pt x="221" y="838"/>
                    </a:lnTo>
                    <a:lnTo>
                      <a:pt x="227" y="828"/>
                    </a:lnTo>
                    <a:lnTo>
                      <a:pt x="239" y="824"/>
                    </a:lnTo>
                    <a:lnTo>
                      <a:pt x="227" y="822"/>
                    </a:lnTo>
                    <a:lnTo>
                      <a:pt x="231" y="810"/>
                    </a:lnTo>
                    <a:lnTo>
                      <a:pt x="245" y="804"/>
                    </a:lnTo>
                    <a:lnTo>
                      <a:pt x="241" y="792"/>
                    </a:lnTo>
                    <a:lnTo>
                      <a:pt x="249" y="784"/>
                    </a:lnTo>
                    <a:lnTo>
                      <a:pt x="259" y="768"/>
                    </a:lnTo>
                    <a:lnTo>
                      <a:pt x="261" y="754"/>
                    </a:lnTo>
                    <a:lnTo>
                      <a:pt x="277" y="748"/>
                    </a:lnTo>
                    <a:lnTo>
                      <a:pt x="283" y="742"/>
                    </a:lnTo>
                    <a:lnTo>
                      <a:pt x="295" y="748"/>
                    </a:lnTo>
                    <a:lnTo>
                      <a:pt x="307" y="748"/>
                    </a:lnTo>
                    <a:lnTo>
                      <a:pt x="303" y="734"/>
                    </a:lnTo>
                    <a:lnTo>
                      <a:pt x="299" y="724"/>
                    </a:lnTo>
                    <a:lnTo>
                      <a:pt x="309" y="718"/>
                    </a:lnTo>
                    <a:lnTo>
                      <a:pt x="313" y="708"/>
                    </a:lnTo>
                    <a:lnTo>
                      <a:pt x="301" y="708"/>
                    </a:lnTo>
                    <a:lnTo>
                      <a:pt x="309" y="698"/>
                    </a:lnTo>
                    <a:lnTo>
                      <a:pt x="319" y="688"/>
                    </a:lnTo>
                    <a:lnTo>
                      <a:pt x="331" y="684"/>
                    </a:lnTo>
                    <a:lnTo>
                      <a:pt x="339" y="684"/>
                    </a:lnTo>
                    <a:lnTo>
                      <a:pt x="343" y="678"/>
                    </a:lnTo>
                    <a:lnTo>
                      <a:pt x="341" y="670"/>
                    </a:lnTo>
                    <a:lnTo>
                      <a:pt x="337" y="666"/>
                    </a:lnTo>
                    <a:lnTo>
                      <a:pt x="331" y="656"/>
                    </a:lnTo>
                    <a:lnTo>
                      <a:pt x="333" y="650"/>
                    </a:lnTo>
                    <a:lnTo>
                      <a:pt x="333" y="640"/>
                    </a:lnTo>
                    <a:lnTo>
                      <a:pt x="339" y="630"/>
                    </a:lnTo>
                    <a:lnTo>
                      <a:pt x="347" y="620"/>
                    </a:lnTo>
                    <a:lnTo>
                      <a:pt x="347" y="608"/>
                    </a:lnTo>
                    <a:lnTo>
                      <a:pt x="345" y="598"/>
                    </a:lnTo>
                    <a:lnTo>
                      <a:pt x="355" y="594"/>
                    </a:lnTo>
                    <a:lnTo>
                      <a:pt x="361" y="592"/>
                    </a:lnTo>
                    <a:lnTo>
                      <a:pt x="355" y="582"/>
                    </a:lnTo>
                    <a:lnTo>
                      <a:pt x="359" y="576"/>
                    </a:lnTo>
                    <a:lnTo>
                      <a:pt x="369" y="574"/>
                    </a:lnTo>
                    <a:lnTo>
                      <a:pt x="377" y="568"/>
                    </a:lnTo>
                    <a:lnTo>
                      <a:pt x="387" y="568"/>
                    </a:lnTo>
                    <a:lnTo>
                      <a:pt x="381" y="564"/>
                    </a:lnTo>
                    <a:lnTo>
                      <a:pt x="367" y="562"/>
                    </a:lnTo>
                    <a:lnTo>
                      <a:pt x="365" y="552"/>
                    </a:lnTo>
                    <a:lnTo>
                      <a:pt x="369" y="540"/>
                    </a:lnTo>
                    <a:lnTo>
                      <a:pt x="375" y="540"/>
                    </a:lnTo>
                    <a:lnTo>
                      <a:pt x="387" y="540"/>
                    </a:lnTo>
                    <a:lnTo>
                      <a:pt x="387" y="532"/>
                    </a:lnTo>
                    <a:lnTo>
                      <a:pt x="375" y="532"/>
                    </a:lnTo>
                    <a:lnTo>
                      <a:pt x="373" y="522"/>
                    </a:lnTo>
                    <a:lnTo>
                      <a:pt x="381" y="516"/>
                    </a:lnTo>
                    <a:lnTo>
                      <a:pt x="393" y="514"/>
                    </a:lnTo>
                    <a:lnTo>
                      <a:pt x="385" y="506"/>
                    </a:lnTo>
                    <a:lnTo>
                      <a:pt x="383" y="500"/>
                    </a:lnTo>
                    <a:lnTo>
                      <a:pt x="385" y="498"/>
                    </a:lnTo>
                    <a:lnTo>
                      <a:pt x="385" y="496"/>
                    </a:lnTo>
                    <a:lnTo>
                      <a:pt x="393" y="492"/>
                    </a:lnTo>
                    <a:lnTo>
                      <a:pt x="399" y="490"/>
                    </a:lnTo>
                    <a:lnTo>
                      <a:pt x="409" y="488"/>
                    </a:lnTo>
                    <a:lnTo>
                      <a:pt x="419" y="484"/>
                    </a:lnTo>
                    <a:lnTo>
                      <a:pt x="407" y="476"/>
                    </a:lnTo>
                    <a:lnTo>
                      <a:pt x="409" y="470"/>
                    </a:lnTo>
                    <a:lnTo>
                      <a:pt x="417" y="468"/>
                    </a:lnTo>
                    <a:lnTo>
                      <a:pt x="437" y="466"/>
                    </a:lnTo>
                    <a:lnTo>
                      <a:pt x="447" y="458"/>
                    </a:lnTo>
                    <a:lnTo>
                      <a:pt x="439" y="458"/>
                    </a:lnTo>
                    <a:lnTo>
                      <a:pt x="429" y="460"/>
                    </a:lnTo>
                    <a:lnTo>
                      <a:pt x="421" y="462"/>
                    </a:lnTo>
                    <a:lnTo>
                      <a:pt x="413" y="462"/>
                    </a:lnTo>
                    <a:lnTo>
                      <a:pt x="419" y="446"/>
                    </a:lnTo>
                    <a:lnTo>
                      <a:pt x="429" y="442"/>
                    </a:lnTo>
                    <a:lnTo>
                      <a:pt x="437" y="434"/>
                    </a:lnTo>
                    <a:lnTo>
                      <a:pt x="445" y="430"/>
                    </a:lnTo>
                    <a:lnTo>
                      <a:pt x="445" y="420"/>
                    </a:lnTo>
                    <a:lnTo>
                      <a:pt x="451" y="414"/>
                    </a:lnTo>
                    <a:lnTo>
                      <a:pt x="455" y="408"/>
                    </a:lnTo>
                    <a:lnTo>
                      <a:pt x="451" y="402"/>
                    </a:lnTo>
                    <a:lnTo>
                      <a:pt x="443" y="410"/>
                    </a:lnTo>
                    <a:lnTo>
                      <a:pt x="439" y="418"/>
                    </a:lnTo>
                    <a:lnTo>
                      <a:pt x="427" y="422"/>
                    </a:lnTo>
                    <a:lnTo>
                      <a:pt x="431" y="412"/>
                    </a:lnTo>
                    <a:lnTo>
                      <a:pt x="431" y="406"/>
                    </a:lnTo>
                    <a:lnTo>
                      <a:pt x="429" y="402"/>
                    </a:lnTo>
                    <a:lnTo>
                      <a:pt x="437" y="398"/>
                    </a:lnTo>
                    <a:lnTo>
                      <a:pt x="433" y="392"/>
                    </a:lnTo>
                    <a:lnTo>
                      <a:pt x="435" y="388"/>
                    </a:lnTo>
                    <a:lnTo>
                      <a:pt x="445" y="390"/>
                    </a:lnTo>
                    <a:lnTo>
                      <a:pt x="453" y="388"/>
                    </a:lnTo>
                    <a:lnTo>
                      <a:pt x="447" y="382"/>
                    </a:lnTo>
                    <a:lnTo>
                      <a:pt x="447" y="374"/>
                    </a:lnTo>
                    <a:lnTo>
                      <a:pt x="451" y="368"/>
                    </a:lnTo>
                    <a:lnTo>
                      <a:pt x="463" y="372"/>
                    </a:lnTo>
                    <a:lnTo>
                      <a:pt x="467" y="360"/>
                    </a:lnTo>
                    <a:lnTo>
                      <a:pt x="475" y="364"/>
                    </a:lnTo>
                    <a:lnTo>
                      <a:pt x="479" y="376"/>
                    </a:lnTo>
                    <a:lnTo>
                      <a:pt x="485" y="374"/>
                    </a:lnTo>
                    <a:lnTo>
                      <a:pt x="487" y="368"/>
                    </a:lnTo>
                    <a:lnTo>
                      <a:pt x="487" y="362"/>
                    </a:lnTo>
                    <a:lnTo>
                      <a:pt x="489" y="360"/>
                    </a:lnTo>
                    <a:lnTo>
                      <a:pt x="491" y="358"/>
                    </a:lnTo>
                    <a:lnTo>
                      <a:pt x="491" y="354"/>
                    </a:lnTo>
                    <a:lnTo>
                      <a:pt x="483" y="352"/>
                    </a:lnTo>
                    <a:lnTo>
                      <a:pt x="477" y="344"/>
                    </a:lnTo>
                    <a:lnTo>
                      <a:pt x="483" y="338"/>
                    </a:lnTo>
                    <a:lnTo>
                      <a:pt x="497" y="340"/>
                    </a:lnTo>
                    <a:lnTo>
                      <a:pt x="507" y="338"/>
                    </a:lnTo>
                    <a:lnTo>
                      <a:pt x="519" y="340"/>
                    </a:lnTo>
                    <a:lnTo>
                      <a:pt x="519" y="330"/>
                    </a:lnTo>
                    <a:lnTo>
                      <a:pt x="507" y="330"/>
                    </a:lnTo>
                    <a:lnTo>
                      <a:pt x="489" y="332"/>
                    </a:lnTo>
                    <a:lnTo>
                      <a:pt x="483" y="324"/>
                    </a:lnTo>
                    <a:lnTo>
                      <a:pt x="485" y="316"/>
                    </a:lnTo>
                    <a:lnTo>
                      <a:pt x="491" y="310"/>
                    </a:lnTo>
                    <a:lnTo>
                      <a:pt x="507" y="308"/>
                    </a:lnTo>
                    <a:lnTo>
                      <a:pt x="501" y="296"/>
                    </a:lnTo>
                    <a:lnTo>
                      <a:pt x="513" y="304"/>
                    </a:lnTo>
                    <a:lnTo>
                      <a:pt x="517" y="298"/>
                    </a:lnTo>
                    <a:lnTo>
                      <a:pt x="511" y="288"/>
                    </a:lnTo>
                    <a:lnTo>
                      <a:pt x="523" y="286"/>
                    </a:lnTo>
                    <a:lnTo>
                      <a:pt x="519" y="280"/>
                    </a:lnTo>
                    <a:lnTo>
                      <a:pt x="521" y="272"/>
                    </a:lnTo>
                    <a:lnTo>
                      <a:pt x="529" y="266"/>
                    </a:lnTo>
                    <a:lnTo>
                      <a:pt x="529" y="258"/>
                    </a:lnTo>
                    <a:lnTo>
                      <a:pt x="535" y="262"/>
                    </a:lnTo>
                    <a:lnTo>
                      <a:pt x="533" y="240"/>
                    </a:lnTo>
                    <a:lnTo>
                      <a:pt x="537" y="232"/>
                    </a:lnTo>
                    <a:lnTo>
                      <a:pt x="543" y="228"/>
                    </a:lnTo>
                    <a:lnTo>
                      <a:pt x="547" y="222"/>
                    </a:lnTo>
                    <a:lnTo>
                      <a:pt x="541" y="212"/>
                    </a:lnTo>
                    <a:lnTo>
                      <a:pt x="537" y="202"/>
                    </a:lnTo>
                    <a:lnTo>
                      <a:pt x="545" y="190"/>
                    </a:lnTo>
                    <a:lnTo>
                      <a:pt x="557" y="188"/>
                    </a:lnTo>
                    <a:lnTo>
                      <a:pt x="565" y="188"/>
                    </a:lnTo>
                    <a:lnTo>
                      <a:pt x="575" y="186"/>
                    </a:lnTo>
                    <a:lnTo>
                      <a:pt x="581" y="184"/>
                    </a:lnTo>
                    <a:lnTo>
                      <a:pt x="585" y="192"/>
                    </a:lnTo>
                    <a:lnTo>
                      <a:pt x="589" y="206"/>
                    </a:lnTo>
                    <a:lnTo>
                      <a:pt x="595" y="202"/>
                    </a:lnTo>
                    <a:lnTo>
                      <a:pt x="595" y="184"/>
                    </a:lnTo>
                    <a:lnTo>
                      <a:pt x="599" y="172"/>
                    </a:lnTo>
                    <a:lnTo>
                      <a:pt x="607" y="168"/>
                    </a:lnTo>
                    <a:lnTo>
                      <a:pt x="609" y="172"/>
                    </a:lnTo>
                    <a:lnTo>
                      <a:pt x="609" y="186"/>
                    </a:lnTo>
                    <a:lnTo>
                      <a:pt x="607" y="198"/>
                    </a:lnTo>
                    <a:lnTo>
                      <a:pt x="611" y="208"/>
                    </a:lnTo>
                    <a:lnTo>
                      <a:pt x="617" y="204"/>
                    </a:lnTo>
                    <a:lnTo>
                      <a:pt x="617" y="190"/>
                    </a:lnTo>
                    <a:lnTo>
                      <a:pt x="623" y="180"/>
                    </a:lnTo>
                    <a:lnTo>
                      <a:pt x="625" y="172"/>
                    </a:lnTo>
                    <a:lnTo>
                      <a:pt x="627" y="166"/>
                    </a:lnTo>
                    <a:lnTo>
                      <a:pt x="621" y="160"/>
                    </a:lnTo>
                    <a:lnTo>
                      <a:pt x="623" y="152"/>
                    </a:lnTo>
                    <a:lnTo>
                      <a:pt x="629" y="154"/>
                    </a:lnTo>
                    <a:lnTo>
                      <a:pt x="633" y="160"/>
                    </a:lnTo>
                    <a:lnTo>
                      <a:pt x="637" y="170"/>
                    </a:lnTo>
                    <a:lnTo>
                      <a:pt x="639" y="164"/>
                    </a:lnTo>
                    <a:lnTo>
                      <a:pt x="639" y="156"/>
                    </a:lnTo>
                    <a:lnTo>
                      <a:pt x="647" y="154"/>
                    </a:lnTo>
                    <a:lnTo>
                      <a:pt x="649" y="160"/>
                    </a:lnTo>
                    <a:lnTo>
                      <a:pt x="659" y="168"/>
                    </a:lnTo>
                    <a:lnTo>
                      <a:pt x="663" y="160"/>
                    </a:lnTo>
                    <a:lnTo>
                      <a:pt x="663" y="144"/>
                    </a:lnTo>
                    <a:lnTo>
                      <a:pt x="655" y="148"/>
                    </a:lnTo>
                    <a:lnTo>
                      <a:pt x="643" y="144"/>
                    </a:lnTo>
                    <a:lnTo>
                      <a:pt x="635" y="140"/>
                    </a:lnTo>
                    <a:lnTo>
                      <a:pt x="635" y="134"/>
                    </a:lnTo>
                    <a:lnTo>
                      <a:pt x="643" y="128"/>
                    </a:lnTo>
                    <a:lnTo>
                      <a:pt x="651" y="130"/>
                    </a:lnTo>
                    <a:lnTo>
                      <a:pt x="655" y="126"/>
                    </a:lnTo>
                    <a:lnTo>
                      <a:pt x="659" y="122"/>
                    </a:lnTo>
                    <a:lnTo>
                      <a:pt x="671" y="126"/>
                    </a:lnTo>
                    <a:lnTo>
                      <a:pt x="679" y="124"/>
                    </a:lnTo>
                    <a:lnTo>
                      <a:pt x="677" y="114"/>
                    </a:lnTo>
                    <a:lnTo>
                      <a:pt x="683" y="110"/>
                    </a:lnTo>
                    <a:lnTo>
                      <a:pt x="691" y="116"/>
                    </a:lnTo>
                    <a:lnTo>
                      <a:pt x="691" y="126"/>
                    </a:lnTo>
                    <a:lnTo>
                      <a:pt x="701" y="132"/>
                    </a:lnTo>
                    <a:lnTo>
                      <a:pt x="705" y="126"/>
                    </a:lnTo>
                    <a:lnTo>
                      <a:pt x="703" y="116"/>
                    </a:lnTo>
                    <a:lnTo>
                      <a:pt x="697" y="110"/>
                    </a:lnTo>
                    <a:lnTo>
                      <a:pt x="691" y="104"/>
                    </a:lnTo>
                    <a:lnTo>
                      <a:pt x="693" y="92"/>
                    </a:lnTo>
                    <a:lnTo>
                      <a:pt x="695" y="90"/>
                    </a:lnTo>
                    <a:lnTo>
                      <a:pt x="697" y="88"/>
                    </a:lnTo>
                    <a:lnTo>
                      <a:pt x="699" y="88"/>
                    </a:lnTo>
                    <a:lnTo>
                      <a:pt x="709" y="88"/>
                    </a:lnTo>
                    <a:lnTo>
                      <a:pt x="705" y="80"/>
                    </a:lnTo>
                    <a:lnTo>
                      <a:pt x="705" y="70"/>
                    </a:lnTo>
                    <a:lnTo>
                      <a:pt x="709" y="70"/>
                    </a:lnTo>
                    <a:lnTo>
                      <a:pt x="723" y="72"/>
                    </a:lnTo>
                    <a:lnTo>
                      <a:pt x="731" y="74"/>
                    </a:lnTo>
                    <a:lnTo>
                      <a:pt x="739" y="70"/>
                    </a:lnTo>
                    <a:lnTo>
                      <a:pt x="741" y="66"/>
                    </a:lnTo>
                    <a:lnTo>
                      <a:pt x="731" y="62"/>
                    </a:lnTo>
                    <a:lnTo>
                      <a:pt x="727" y="58"/>
                    </a:lnTo>
                    <a:lnTo>
                      <a:pt x="729" y="50"/>
                    </a:lnTo>
                    <a:lnTo>
                      <a:pt x="743" y="52"/>
                    </a:lnTo>
                    <a:lnTo>
                      <a:pt x="739" y="44"/>
                    </a:lnTo>
                    <a:lnTo>
                      <a:pt x="731" y="38"/>
                    </a:lnTo>
                    <a:lnTo>
                      <a:pt x="735" y="38"/>
                    </a:lnTo>
                    <a:lnTo>
                      <a:pt x="737" y="34"/>
                    </a:lnTo>
                    <a:lnTo>
                      <a:pt x="737" y="30"/>
                    </a:lnTo>
                    <a:lnTo>
                      <a:pt x="737" y="26"/>
                    </a:lnTo>
                    <a:lnTo>
                      <a:pt x="739" y="26"/>
                    </a:lnTo>
                    <a:lnTo>
                      <a:pt x="741" y="26"/>
                    </a:lnTo>
                    <a:lnTo>
                      <a:pt x="741" y="32"/>
                    </a:lnTo>
                    <a:lnTo>
                      <a:pt x="739" y="38"/>
                    </a:lnTo>
                    <a:lnTo>
                      <a:pt x="751" y="38"/>
                    </a:lnTo>
                    <a:lnTo>
                      <a:pt x="757" y="42"/>
                    </a:lnTo>
                    <a:lnTo>
                      <a:pt x="767" y="40"/>
                    </a:lnTo>
                    <a:lnTo>
                      <a:pt x="763" y="32"/>
                    </a:lnTo>
                    <a:lnTo>
                      <a:pt x="761" y="26"/>
                    </a:lnTo>
                    <a:lnTo>
                      <a:pt x="757" y="20"/>
                    </a:lnTo>
                    <a:lnTo>
                      <a:pt x="763" y="16"/>
                    </a:lnTo>
                    <a:lnTo>
                      <a:pt x="763" y="10"/>
                    </a:lnTo>
                    <a:lnTo>
                      <a:pt x="769" y="8"/>
                    </a:lnTo>
                    <a:lnTo>
                      <a:pt x="779" y="12"/>
                    </a:lnTo>
                    <a:lnTo>
                      <a:pt x="781" y="20"/>
                    </a:lnTo>
                    <a:lnTo>
                      <a:pt x="787" y="22"/>
                    </a:lnTo>
                    <a:lnTo>
                      <a:pt x="783" y="28"/>
                    </a:lnTo>
                    <a:lnTo>
                      <a:pt x="773" y="32"/>
                    </a:lnTo>
                    <a:lnTo>
                      <a:pt x="777" y="34"/>
                    </a:lnTo>
                    <a:lnTo>
                      <a:pt x="781" y="38"/>
                    </a:lnTo>
                    <a:lnTo>
                      <a:pt x="777" y="48"/>
                    </a:lnTo>
                    <a:lnTo>
                      <a:pt x="777" y="56"/>
                    </a:lnTo>
                    <a:lnTo>
                      <a:pt x="771" y="64"/>
                    </a:lnTo>
                    <a:lnTo>
                      <a:pt x="769" y="70"/>
                    </a:lnTo>
                    <a:lnTo>
                      <a:pt x="765" y="84"/>
                    </a:lnTo>
                    <a:lnTo>
                      <a:pt x="769" y="90"/>
                    </a:lnTo>
                    <a:lnTo>
                      <a:pt x="767" y="98"/>
                    </a:lnTo>
                    <a:lnTo>
                      <a:pt x="767" y="106"/>
                    </a:lnTo>
                    <a:lnTo>
                      <a:pt x="765" y="108"/>
                    </a:lnTo>
                    <a:lnTo>
                      <a:pt x="763" y="112"/>
                    </a:lnTo>
                    <a:lnTo>
                      <a:pt x="763" y="114"/>
                    </a:lnTo>
                    <a:lnTo>
                      <a:pt x="767" y="118"/>
                    </a:lnTo>
                    <a:lnTo>
                      <a:pt x="771" y="120"/>
                    </a:lnTo>
                    <a:lnTo>
                      <a:pt x="777" y="108"/>
                    </a:lnTo>
                    <a:lnTo>
                      <a:pt x="779" y="96"/>
                    </a:lnTo>
                    <a:lnTo>
                      <a:pt x="781" y="78"/>
                    </a:lnTo>
                    <a:lnTo>
                      <a:pt x="787" y="70"/>
                    </a:lnTo>
                    <a:lnTo>
                      <a:pt x="791" y="58"/>
                    </a:lnTo>
                    <a:lnTo>
                      <a:pt x="789" y="48"/>
                    </a:lnTo>
                    <a:lnTo>
                      <a:pt x="793" y="42"/>
                    </a:lnTo>
                    <a:lnTo>
                      <a:pt x="795" y="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4" name="Freeform 29"/>
              <p:cNvSpPr>
                <a:spLocks/>
              </p:cNvSpPr>
              <p:nvPr/>
            </p:nvSpPr>
            <p:spPr bwMode="gray">
              <a:xfrm>
                <a:off x="3643" y="384"/>
                <a:ext cx="44" cy="59"/>
              </a:xfrm>
              <a:custGeom>
                <a:avLst/>
                <a:gdLst>
                  <a:gd name="T0" fmla="*/ 16 w 40"/>
                  <a:gd name="T1" fmla="*/ 4 h 54"/>
                  <a:gd name="T2" fmla="*/ 26 w 40"/>
                  <a:gd name="T3" fmla="*/ 6 h 54"/>
                  <a:gd name="T4" fmla="*/ 32 w 40"/>
                  <a:gd name="T5" fmla="*/ 0 h 54"/>
                  <a:gd name="T6" fmla="*/ 38 w 40"/>
                  <a:gd name="T7" fmla="*/ 4 h 54"/>
                  <a:gd name="T8" fmla="*/ 40 w 40"/>
                  <a:gd name="T9" fmla="*/ 14 h 54"/>
                  <a:gd name="T10" fmla="*/ 40 w 40"/>
                  <a:gd name="T11" fmla="*/ 22 h 54"/>
                  <a:gd name="T12" fmla="*/ 40 w 40"/>
                  <a:gd name="T13" fmla="*/ 30 h 54"/>
                  <a:gd name="T14" fmla="*/ 38 w 40"/>
                  <a:gd name="T15" fmla="*/ 32 h 54"/>
                  <a:gd name="T16" fmla="*/ 36 w 40"/>
                  <a:gd name="T17" fmla="*/ 36 h 54"/>
                  <a:gd name="T18" fmla="*/ 26 w 40"/>
                  <a:gd name="T19" fmla="*/ 38 h 54"/>
                  <a:gd name="T20" fmla="*/ 22 w 40"/>
                  <a:gd name="T21" fmla="*/ 44 h 54"/>
                  <a:gd name="T22" fmla="*/ 16 w 40"/>
                  <a:gd name="T23" fmla="*/ 50 h 54"/>
                  <a:gd name="T24" fmla="*/ 8 w 40"/>
                  <a:gd name="T25" fmla="*/ 54 h 54"/>
                  <a:gd name="T26" fmla="*/ 0 w 40"/>
                  <a:gd name="T27" fmla="*/ 46 h 54"/>
                  <a:gd name="T28" fmla="*/ 6 w 40"/>
                  <a:gd name="T29" fmla="*/ 38 h 54"/>
                  <a:gd name="T30" fmla="*/ 12 w 40"/>
                  <a:gd name="T31" fmla="*/ 30 h 54"/>
                  <a:gd name="T32" fmla="*/ 6 w 40"/>
                  <a:gd name="T33" fmla="*/ 22 h 54"/>
                  <a:gd name="T34" fmla="*/ 16 w 40"/>
                  <a:gd name="T35" fmla="*/ 14 h 54"/>
                  <a:gd name="T36" fmla="*/ 12 w 40"/>
                  <a:gd name="T37" fmla="*/ 8 h 54"/>
                  <a:gd name="T38" fmla="*/ 16 w 40"/>
                  <a:gd name="T39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54">
                    <a:moveTo>
                      <a:pt x="16" y="4"/>
                    </a:moveTo>
                    <a:lnTo>
                      <a:pt x="26" y="6"/>
                    </a:lnTo>
                    <a:lnTo>
                      <a:pt x="32" y="0"/>
                    </a:lnTo>
                    <a:lnTo>
                      <a:pt x="38" y="4"/>
                    </a:lnTo>
                    <a:lnTo>
                      <a:pt x="40" y="14"/>
                    </a:lnTo>
                    <a:lnTo>
                      <a:pt x="40" y="22"/>
                    </a:lnTo>
                    <a:lnTo>
                      <a:pt x="40" y="30"/>
                    </a:lnTo>
                    <a:lnTo>
                      <a:pt x="38" y="32"/>
                    </a:lnTo>
                    <a:lnTo>
                      <a:pt x="36" y="36"/>
                    </a:lnTo>
                    <a:lnTo>
                      <a:pt x="26" y="38"/>
                    </a:lnTo>
                    <a:lnTo>
                      <a:pt x="22" y="44"/>
                    </a:lnTo>
                    <a:lnTo>
                      <a:pt x="16" y="50"/>
                    </a:lnTo>
                    <a:lnTo>
                      <a:pt x="8" y="54"/>
                    </a:lnTo>
                    <a:lnTo>
                      <a:pt x="0" y="46"/>
                    </a:lnTo>
                    <a:lnTo>
                      <a:pt x="6" y="38"/>
                    </a:lnTo>
                    <a:lnTo>
                      <a:pt x="12" y="30"/>
                    </a:lnTo>
                    <a:lnTo>
                      <a:pt x="6" y="22"/>
                    </a:lnTo>
                    <a:lnTo>
                      <a:pt x="16" y="14"/>
                    </a:lnTo>
                    <a:lnTo>
                      <a:pt x="12" y="8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5" name="Freeform 30"/>
              <p:cNvSpPr>
                <a:spLocks/>
              </p:cNvSpPr>
              <p:nvPr/>
            </p:nvSpPr>
            <p:spPr bwMode="gray">
              <a:xfrm>
                <a:off x="3483" y="419"/>
                <a:ext cx="156" cy="171"/>
              </a:xfrm>
              <a:custGeom>
                <a:avLst/>
                <a:gdLst>
                  <a:gd name="T0" fmla="*/ 130 w 142"/>
                  <a:gd name="T1" fmla="*/ 76 h 156"/>
                  <a:gd name="T2" fmla="*/ 128 w 142"/>
                  <a:gd name="T3" fmla="*/ 88 h 156"/>
                  <a:gd name="T4" fmla="*/ 126 w 142"/>
                  <a:gd name="T5" fmla="*/ 92 h 156"/>
                  <a:gd name="T6" fmla="*/ 118 w 142"/>
                  <a:gd name="T7" fmla="*/ 92 h 156"/>
                  <a:gd name="T8" fmla="*/ 114 w 142"/>
                  <a:gd name="T9" fmla="*/ 92 h 156"/>
                  <a:gd name="T10" fmla="*/ 116 w 142"/>
                  <a:gd name="T11" fmla="*/ 98 h 156"/>
                  <a:gd name="T12" fmla="*/ 102 w 142"/>
                  <a:gd name="T13" fmla="*/ 102 h 156"/>
                  <a:gd name="T14" fmla="*/ 98 w 142"/>
                  <a:gd name="T15" fmla="*/ 94 h 156"/>
                  <a:gd name="T16" fmla="*/ 88 w 142"/>
                  <a:gd name="T17" fmla="*/ 108 h 156"/>
                  <a:gd name="T18" fmla="*/ 82 w 142"/>
                  <a:gd name="T19" fmla="*/ 102 h 156"/>
                  <a:gd name="T20" fmla="*/ 70 w 142"/>
                  <a:gd name="T21" fmla="*/ 112 h 156"/>
                  <a:gd name="T22" fmla="*/ 54 w 142"/>
                  <a:gd name="T23" fmla="*/ 114 h 156"/>
                  <a:gd name="T24" fmla="*/ 40 w 142"/>
                  <a:gd name="T25" fmla="*/ 122 h 156"/>
                  <a:gd name="T26" fmla="*/ 38 w 142"/>
                  <a:gd name="T27" fmla="*/ 126 h 156"/>
                  <a:gd name="T28" fmla="*/ 24 w 142"/>
                  <a:gd name="T29" fmla="*/ 134 h 156"/>
                  <a:gd name="T30" fmla="*/ 16 w 142"/>
                  <a:gd name="T31" fmla="*/ 148 h 156"/>
                  <a:gd name="T32" fmla="*/ 2 w 142"/>
                  <a:gd name="T33" fmla="*/ 156 h 156"/>
                  <a:gd name="T34" fmla="*/ 2 w 142"/>
                  <a:gd name="T35" fmla="*/ 148 h 156"/>
                  <a:gd name="T36" fmla="*/ 8 w 142"/>
                  <a:gd name="T37" fmla="*/ 136 h 156"/>
                  <a:gd name="T38" fmla="*/ 18 w 142"/>
                  <a:gd name="T39" fmla="*/ 130 h 156"/>
                  <a:gd name="T40" fmla="*/ 30 w 142"/>
                  <a:gd name="T41" fmla="*/ 118 h 156"/>
                  <a:gd name="T42" fmla="*/ 32 w 142"/>
                  <a:gd name="T43" fmla="*/ 112 h 156"/>
                  <a:gd name="T44" fmla="*/ 36 w 142"/>
                  <a:gd name="T45" fmla="*/ 108 h 156"/>
                  <a:gd name="T46" fmla="*/ 50 w 142"/>
                  <a:gd name="T47" fmla="*/ 106 h 156"/>
                  <a:gd name="T48" fmla="*/ 70 w 142"/>
                  <a:gd name="T49" fmla="*/ 94 h 156"/>
                  <a:gd name="T50" fmla="*/ 94 w 142"/>
                  <a:gd name="T51" fmla="*/ 86 h 156"/>
                  <a:gd name="T52" fmla="*/ 100 w 142"/>
                  <a:gd name="T53" fmla="*/ 70 h 156"/>
                  <a:gd name="T54" fmla="*/ 94 w 142"/>
                  <a:gd name="T55" fmla="*/ 68 h 156"/>
                  <a:gd name="T56" fmla="*/ 80 w 142"/>
                  <a:gd name="T57" fmla="*/ 80 h 156"/>
                  <a:gd name="T58" fmla="*/ 68 w 142"/>
                  <a:gd name="T59" fmla="*/ 78 h 156"/>
                  <a:gd name="T60" fmla="*/ 64 w 142"/>
                  <a:gd name="T61" fmla="*/ 74 h 156"/>
                  <a:gd name="T62" fmla="*/ 62 w 142"/>
                  <a:gd name="T63" fmla="*/ 60 h 156"/>
                  <a:gd name="T64" fmla="*/ 78 w 142"/>
                  <a:gd name="T65" fmla="*/ 52 h 156"/>
                  <a:gd name="T66" fmla="*/ 80 w 142"/>
                  <a:gd name="T67" fmla="*/ 34 h 156"/>
                  <a:gd name="T68" fmla="*/ 92 w 142"/>
                  <a:gd name="T69" fmla="*/ 46 h 156"/>
                  <a:gd name="T70" fmla="*/ 96 w 142"/>
                  <a:gd name="T71" fmla="*/ 34 h 156"/>
                  <a:gd name="T72" fmla="*/ 108 w 142"/>
                  <a:gd name="T73" fmla="*/ 16 h 156"/>
                  <a:gd name="T74" fmla="*/ 120 w 142"/>
                  <a:gd name="T75" fmla="*/ 0 h 156"/>
                  <a:gd name="T76" fmla="*/ 118 w 142"/>
                  <a:gd name="T77" fmla="*/ 14 h 156"/>
                  <a:gd name="T78" fmla="*/ 110 w 142"/>
                  <a:gd name="T79" fmla="*/ 34 h 156"/>
                  <a:gd name="T80" fmla="*/ 118 w 142"/>
                  <a:gd name="T81" fmla="*/ 44 h 156"/>
                  <a:gd name="T82" fmla="*/ 118 w 142"/>
                  <a:gd name="T83" fmla="*/ 56 h 156"/>
                  <a:gd name="T84" fmla="*/ 124 w 142"/>
                  <a:gd name="T85" fmla="*/ 60 h 156"/>
                  <a:gd name="T86" fmla="*/ 132 w 142"/>
                  <a:gd name="T87" fmla="*/ 40 h 156"/>
                  <a:gd name="T88" fmla="*/ 130 w 142"/>
                  <a:gd name="T89" fmla="*/ 34 h 156"/>
                  <a:gd name="T90" fmla="*/ 136 w 142"/>
                  <a:gd name="T91" fmla="*/ 36 h 156"/>
                  <a:gd name="T92" fmla="*/ 138 w 142"/>
                  <a:gd name="T93" fmla="*/ 46 h 156"/>
                  <a:gd name="T94" fmla="*/ 140 w 142"/>
                  <a:gd name="T95" fmla="*/ 60 h 156"/>
                  <a:gd name="T96" fmla="*/ 138 w 142"/>
                  <a:gd name="T97" fmla="*/ 74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2" h="156">
                    <a:moveTo>
                      <a:pt x="134" y="76"/>
                    </a:moveTo>
                    <a:lnTo>
                      <a:pt x="130" y="76"/>
                    </a:lnTo>
                    <a:lnTo>
                      <a:pt x="126" y="84"/>
                    </a:lnTo>
                    <a:lnTo>
                      <a:pt x="128" y="88"/>
                    </a:lnTo>
                    <a:lnTo>
                      <a:pt x="128" y="90"/>
                    </a:lnTo>
                    <a:lnTo>
                      <a:pt x="126" y="92"/>
                    </a:lnTo>
                    <a:lnTo>
                      <a:pt x="122" y="92"/>
                    </a:lnTo>
                    <a:lnTo>
                      <a:pt x="118" y="92"/>
                    </a:lnTo>
                    <a:lnTo>
                      <a:pt x="116" y="90"/>
                    </a:lnTo>
                    <a:lnTo>
                      <a:pt x="114" y="92"/>
                    </a:lnTo>
                    <a:lnTo>
                      <a:pt x="116" y="96"/>
                    </a:lnTo>
                    <a:lnTo>
                      <a:pt x="116" y="98"/>
                    </a:lnTo>
                    <a:lnTo>
                      <a:pt x="112" y="100"/>
                    </a:lnTo>
                    <a:lnTo>
                      <a:pt x="102" y="102"/>
                    </a:lnTo>
                    <a:lnTo>
                      <a:pt x="102" y="94"/>
                    </a:lnTo>
                    <a:lnTo>
                      <a:pt x="98" y="94"/>
                    </a:lnTo>
                    <a:lnTo>
                      <a:pt x="94" y="100"/>
                    </a:lnTo>
                    <a:lnTo>
                      <a:pt x="88" y="108"/>
                    </a:lnTo>
                    <a:lnTo>
                      <a:pt x="86" y="98"/>
                    </a:lnTo>
                    <a:lnTo>
                      <a:pt x="82" y="102"/>
                    </a:lnTo>
                    <a:lnTo>
                      <a:pt x="76" y="108"/>
                    </a:lnTo>
                    <a:lnTo>
                      <a:pt x="70" y="112"/>
                    </a:lnTo>
                    <a:lnTo>
                      <a:pt x="60" y="118"/>
                    </a:lnTo>
                    <a:lnTo>
                      <a:pt x="54" y="114"/>
                    </a:lnTo>
                    <a:lnTo>
                      <a:pt x="50" y="116"/>
                    </a:lnTo>
                    <a:lnTo>
                      <a:pt x="40" y="122"/>
                    </a:lnTo>
                    <a:lnTo>
                      <a:pt x="40" y="124"/>
                    </a:lnTo>
                    <a:lnTo>
                      <a:pt x="38" y="126"/>
                    </a:lnTo>
                    <a:lnTo>
                      <a:pt x="36" y="128"/>
                    </a:lnTo>
                    <a:lnTo>
                      <a:pt x="24" y="134"/>
                    </a:lnTo>
                    <a:lnTo>
                      <a:pt x="18" y="140"/>
                    </a:lnTo>
                    <a:lnTo>
                      <a:pt x="16" y="148"/>
                    </a:lnTo>
                    <a:lnTo>
                      <a:pt x="10" y="154"/>
                    </a:lnTo>
                    <a:lnTo>
                      <a:pt x="2" y="156"/>
                    </a:lnTo>
                    <a:lnTo>
                      <a:pt x="0" y="152"/>
                    </a:lnTo>
                    <a:lnTo>
                      <a:pt x="2" y="148"/>
                    </a:lnTo>
                    <a:lnTo>
                      <a:pt x="2" y="144"/>
                    </a:lnTo>
                    <a:lnTo>
                      <a:pt x="8" y="136"/>
                    </a:lnTo>
                    <a:lnTo>
                      <a:pt x="10" y="132"/>
                    </a:lnTo>
                    <a:lnTo>
                      <a:pt x="18" y="130"/>
                    </a:lnTo>
                    <a:lnTo>
                      <a:pt x="24" y="124"/>
                    </a:lnTo>
                    <a:lnTo>
                      <a:pt x="30" y="118"/>
                    </a:lnTo>
                    <a:lnTo>
                      <a:pt x="30" y="114"/>
                    </a:lnTo>
                    <a:lnTo>
                      <a:pt x="32" y="112"/>
                    </a:lnTo>
                    <a:lnTo>
                      <a:pt x="32" y="110"/>
                    </a:lnTo>
                    <a:lnTo>
                      <a:pt x="36" y="108"/>
                    </a:lnTo>
                    <a:lnTo>
                      <a:pt x="40" y="108"/>
                    </a:lnTo>
                    <a:lnTo>
                      <a:pt x="50" y="106"/>
                    </a:lnTo>
                    <a:lnTo>
                      <a:pt x="58" y="102"/>
                    </a:lnTo>
                    <a:lnTo>
                      <a:pt x="70" y="94"/>
                    </a:lnTo>
                    <a:lnTo>
                      <a:pt x="86" y="90"/>
                    </a:lnTo>
                    <a:lnTo>
                      <a:pt x="94" y="86"/>
                    </a:lnTo>
                    <a:lnTo>
                      <a:pt x="94" y="76"/>
                    </a:lnTo>
                    <a:lnTo>
                      <a:pt x="100" y="70"/>
                    </a:lnTo>
                    <a:lnTo>
                      <a:pt x="100" y="64"/>
                    </a:lnTo>
                    <a:lnTo>
                      <a:pt x="94" y="68"/>
                    </a:lnTo>
                    <a:lnTo>
                      <a:pt x="86" y="76"/>
                    </a:lnTo>
                    <a:lnTo>
                      <a:pt x="80" y="80"/>
                    </a:lnTo>
                    <a:lnTo>
                      <a:pt x="74" y="86"/>
                    </a:lnTo>
                    <a:lnTo>
                      <a:pt x="68" y="78"/>
                    </a:lnTo>
                    <a:lnTo>
                      <a:pt x="72" y="74"/>
                    </a:lnTo>
                    <a:lnTo>
                      <a:pt x="64" y="74"/>
                    </a:lnTo>
                    <a:lnTo>
                      <a:pt x="62" y="68"/>
                    </a:lnTo>
                    <a:lnTo>
                      <a:pt x="62" y="60"/>
                    </a:lnTo>
                    <a:lnTo>
                      <a:pt x="72" y="58"/>
                    </a:lnTo>
                    <a:lnTo>
                      <a:pt x="78" y="52"/>
                    </a:lnTo>
                    <a:lnTo>
                      <a:pt x="84" y="48"/>
                    </a:lnTo>
                    <a:lnTo>
                      <a:pt x="80" y="34"/>
                    </a:lnTo>
                    <a:lnTo>
                      <a:pt x="86" y="34"/>
                    </a:lnTo>
                    <a:lnTo>
                      <a:pt x="92" y="46"/>
                    </a:lnTo>
                    <a:lnTo>
                      <a:pt x="98" y="48"/>
                    </a:lnTo>
                    <a:lnTo>
                      <a:pt x="96" y="34"/>
                    </a:lnTo>
                    <a:lnTo>
                      <a:pt x="100" y="22"/>
                    </a:lnTo>
                    <a:lnTo>
                      <a:pt x="108" y="16"/>
                    </a:lnTo>
                    <a:lnTo>
                      <a:pt x="110" y="6"/>
                    </a:lnTo>
                    <a:lnTo>
                      <a:pt x="120" y="0"/>
                    </a:lnTo>
                    <a:lnTo>
                      <a:pt x="120" y="6"/>
                    </a:lnTo>
                    <a:lnTo>
                      <a:pt x="118" y="14"/>
                    </a:lnTo>
                    <a:lnTo>
                      <a:pt x="112" y="28"/>
                    </a:lnTo>
                    <a:lnTo>
                      <a:pt x="110" y="34"/>
                    </a:lnTo>
                    <a:lnTo>
                      <a:pt x="118" y="38"/>
                    </a:lnTo>
                    <a:lnTo>
                      <a:pt x="118" y="44"/>
                    </a:lnTo>
                    <a:lnTo>
                      <a:pt x="114" y="52"/>
                    </a:lnTo>
                    <a:lnTo>
                      <a:pt x="118" y="56"/>
                    </a:lnTo>
                    <a:lnTo>
                      <a:pt x="118" y="62"/>
                    </a:lnTo>
                    <a:lnTo>
                      <a:pt x="124" y="60"/>
                    </a:lnTo>
                    <a:lnTo>
                      <a:pt x="126" y="46"/>
                    </a:lnTo>
                    <a:lnTo>
                      <a:pt x="132" y="40"/>
                    </a:lnTo>
                    <a:lnTo>
                      <a:pt x="130" y="36"/>
                    </a:lnTo>
                    <a:lnTo>
                      <a:pt x="130" y="34"/>
                    </a:lnTo>
                    <a:lnTo>
                      <a:pt x="132" y="34"/>
                    </a:lnTo>
                    <a:lnTo>
                      <a:pt x="136" y="36"/>
                    </a:lnTo>
                    <a:lnTo>
                      <a:pt x="138" y="40"/>
                    </a:lnTo>
                    <a:lnTo>
                      <a:pt x="138" y="46"/>
                    </a:lnTo>
                    <a:lnTo>
                      <a:pt x="142" y="52"/>
                    </a:lnTo>
                    <a:lnTo>
                      <a:pt x="140" y="60"/>
                    </a:lnTo>
                    <a:lnTo>
                      <a:pt x="136" y="68"/>
                    </a:lnTo>
                    <a:lnTo>
                      <a:pt x="138" y="74"/>
                    </a:lnTo>
                    <a:lnTo>
                      <a:pt x="134" y="7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6" name="Freeform 31"/>
              <p:cNvSpPr>
                <a:spLocks/>
              </p:cNvSpPr>
              <p:nvPr/>
            </p:nvSpPr>
            <p:spPr bwMode="gray">
              <a:xfrm>
                <a:off x="3707" y="298"/>
                <a:ext cx="44" cy="48"/>
              </a:xfrm>
              <a:custGeom>
                <a:avLst/>
                <a:gdLst>
                  <a:gd name="T0" fmla="*/ 6 w 40"/>
                  <a:gd name="T1" fmla="*/ 36 h 44"/>
                  <a:gd name="T2" fmla="*/ 0 w 40"/>
                  <a:gd name="T3" fmla="*/ 22 h 44"/>
                  <a:gd name="T4" fmla="*/ 4 w 40"/>
                  <a:gd name="T5" fmla="*/ 16 h 44"/>
                  <a:gd name="T6" fmla="*/ 8 w 40"/>
                  <a:gd name="T7" fmla="*/ 18 h 44"/>
                  <a:gd name="T8" fmla="*/ 10 w 40"/>
                  <a:gd name="T9" fmla="*/ 18 h 44"/>
                  <a:gd name="T10" fmla="*/ 12 w 40"/>
                  <a:gd name="T11" fmla="*/ 16 h 44"/>
                  <a:gd name="T12" fmla="*/ 14 w 40"/>
                  <a:gd name="T13" fmla="*/ 12 h 44"/>
                  <a:gd name="T14" fmla="*/ 8 w 40"/>
                  <a:gd name="T15" fmla="*/ 0 h 44"/>
                  <a:gd name="T16" fmla="*/ 16 w 40"/>
                  <a:gd name="T17" fmla="*/ 8 h 44"/>
                  <a:gd name="T18" fmla="*/ 20 w 40"/>
                  <a:gd name="T19" fmla="*/ 22 h 44"/>
                  <a:gd name="T20" fmla="*/ 24 w 40"/>
                  <a:gd name="T21" fmla="*/ 14 h 44"/>
                  <a:gd name="T22" fmla="*/ 30 w 40"/>
                  <a:gd name="T23" fmla="*/ 24 h 44"/>
                  <a:gd name="T24" fmla="*/ 36 w 40"/>
                  <a:gd name="T25" fmla="*/ 24 h 44"/>
                  <a:gd name="T26" fmla="*/ 40 w 40"/>
                  <a:gd name="T27" fmla="*/ 32 h 44"/>
                  <a:gd name="T28" fmla="*/ 36 w 40"/>
                  <a:gd name="T29" fmla="*/ 36 h 44"/>
                  <a:gd name="T30" fmla="*/ 28 w 40"/>
                  <a:gd name="T31" fmla="*/ 40 h 44"/>
                  <a:gd name="T32" fmla="*/ 22 w 40"/>
                  <a:gd name="T33" fmla="*/ 44 h 44"/>
                  <a:gd name="T34" fmla="*/ 14 w 40"/>
                  <a:gd name="T35" fmla="*/ 44 h 44"/>
                  <a:gd name="T36" fmla="*/ 6 w 40"/>
                  <a:gd name="T37" fmla="*/ 44 h 44"/>
                  <a:gd name="T38" fmla="*/ 6 w 40"/>
                  <a:gd name="T39" fmla="*/ 3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4">
                    <a:moveTo>
                      <a:pt x="6" y="36"/>
                    </a:moveTo>
                    <a:lnTo>
                      <a:pt x="0" y="22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8" y="0"/>
                    </a:lnTo>
                    <a:lnTo>
                      <a:pt x="16" y="8"/>
                    </a:lnTo>
                    <a:lnTo>
                      <a:pt x="20" y="22"/>
                    </a:lnTo>
                    <a:lnTo>
                      <a:pt x="24" y="14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28" y="40"/>
                    </a:lnTo>
                    <a:lnTo>
                      <a:pt x="22" y="44"/>
                    </a:lnTo>
                    <a:lnTo>
                      <a:pt x="14" y="44"/>
                    </a:lnTo>
                    <a:lnTo>
                      <a:pt x="6" y="44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7" name="Freeform 32"/>
              <p:cNvSpPr>
                <a:spLocks/>
              </p:cNvSpPr>
              <p:nvPr/>
            </p:nvSpPr>
            <p:spPr bwMode="gray">
              <a:xfrm>
                <a:off x="3768" y="294"/>
                <a:ext cx="18" cy="20"/>
              </a:xfrm>
              <a:custGeom>
                <a:avLst/>
                <a:gdLst>
                  <a:gd name="T0" fmla="*/ 10 w 16"/>
                  <a:gd name="T1" fmla="*/ 18 h 18"/>
                  <a:gd name="T2" fmla="*/ 2 w 16"/>
                  <a:gd name="T3" fmla="*/ 18 h 18"/>
                  <a:gd name="T4" fmla="*/ 0 w 16"/>
                  <a:gd name="T5" fmla="*/ 10 h 18"/>
                  <a:gd name="T6" fmla="*/ 2 w 16"/>
                  <a:gd name="T7" fmla="*/ 4 h 18"/>
                  <a:gd name="T8" fmla="*/ 8 w 16"/>
                  <a:gd name="T9" fmla="*/ 0 h 18"/>
                  <a:gd name="T10" fmla="*/ 12 w 16"/>
                  <a:gd name="T11" fmla="*/ 0 h 18"/>
                  <a:gd name="T12" fmla="*/ 14 w 16"/>
                  <a:gd name="T13" fmla="*/ 0 h 18"/>
                  <a:gd name="T14" fmla="*/ 16 w 16"/>
                  <a:gd name="T15" fmla="*/ 4 h 18"/>
                  <a:gd name="T16" fmla="*/ 16 w 16"/>
                  <a:gd name="T17" fmla="*/ 10 h 18"/>
                  <a:gd name="T18" fmla="*/ 16 w 16"/>
                  <a:gd name="T19" fmla="*/ 14 h 18"/>
                  <a:gd name="T20" fmla="*/ 10 w 16"/>
                  <a:gd name="T2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18">
                    <a:moveTo>
                      <a:pt x="10" y="18"/>
                    </a:moveTo>
                    <a:lnTo>
                      <a:pt x="2" y="18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4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8" name="Freeform 33"/>
              <p:cNvSpPr>
                <a:spLocks/>
              </p:cNvSpPr>
              <p:nvPr/>
            </p:nvSpPr>
            <p:spPr bwMode="gray">
              <a:xfrm>
                <a:off x="3823" y="208"/>
                <a:ext cx="50" cy="51"/>
              </a:xfrm>
              <a:custGeom>
                <a:avLst/>
                <a:gdLst>
                  <a:gd name="T0" fmla="*/ 24 w 46"/>
                  <a:gd name="T1" fmla="*/ 16 h 46"/>
                  <a:gd name="T2" fmla="*/ 24 w 46"/>
                  <a:gd name="T3" fmla="*/ 20 h 46"/>
                  <a:gd name="T4" fmla="*/ 24 w 46"/>
                  <a:gd name="T5" fmla="*/ 22 h 46"/>
                  <a:gd name="T6" fmla="*/ 20 w 46"/>
                  <a:gd name="T7" fmla="*/ 26 h 46"/>
                  <a:gd name="T8" fmla="*/ 16 w 46"/>
                  <a:gd name="T9" fmla="*/ 20 h 46"/>
                  <a:gd name="T10" fmla="*/ 10 w 46"/>
                  <a:gd name="T11" fmla="*/ 22 h 46"/>
                  <a:gd name="T12" fmla="*/ 2 w 46"/>
                  <a:gd name="T13" fmla="*/ 26 h 46"/>
                  <a:gd name="T14" fmla="*/ 0 w 46"/>
                  <a:gd name="T15" fmla="*/ 32 h 46"/>
                  <a:gd name="T16" fmla="*/ 8 w 46"/>
                  <a:gd name="T17" fmla="*/ 36 h 46"/>
                  <a:gd name="T18" fmla="*/ 8 w 46"/>
                  <a:gd name="T19" fmla="*/ 40 h 46"/>
                  <a:gd name="T20" fmla="*/ 4 w 46"/>
                  <a:gd name="T21" fmla="*/ 46 h 46"/>
                  <a:gd name="T22" fmla="*/ 12 w 46"/>
                  <a:gd name="T23" fmla="*/ 44 h 46"/>
                  <a:gd name="T24" fmla="*/ 22 w 46"/>
                  <a:gd name="T25" fmla="*/ 38 h 46"/>
                  <a:gd name="T26" fmla="*/ 32 w 46"/>
                  <a:gd name="T27" fmla="*/ 36 h 46"/>
                  <a:gd name="T28" fmla="*/ 38 w 46"/>
                  <a:gd name="T29" fmla="*/ 30 h 46"/>
                  <a:gd name="T30" fmla="*/ 40 w 46"/>
                  <a:gd name="T31" fmla="*/ 24 h 46"/>
                  <a:gd name="T32" fmla="*/ 44 w 46"/>
                  <a:gd name="T33" fmla="*/ 16 h 46"/>
                  <a:gd name="T34" fmla="*/ 46 w 46"/>
                  <a:gd name="T35" fmla="*/ 8 h 46"/>
                  <a:gd name="T36" fmla="*/ 46 w 46"/>
                  <a:gd name="T37" fmla="*/ 2 h 46"/>
                  <a:gd name="T38" fmla="*/ 44 w 46"/>
                  <a:gd name="T39" fmla="*/ 0 h 46"/>
                  <a:gd name="T40" fmla="*/ 34 w 46"/>
                  <a:gd name="T41" fmla="*/ 2 h 46"/>
                  <a:gd name="T42" fmla="*/ 32 w 46"/>
                  <a:gd name="T43" fmla="*/ 10 h 46"/>
                  <a:gd name="T44" fmla="*/ 32 w 46"/>
                  <a:gd name="T45" fmla="*/ 16 h 46"/>
                  <a:gd name="T46" fmla="*/ 24 w 46"/>
                  <a:gd name="T47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46">
                    <a:moveTo>
                      <a:pt x="24" y="16"/>
                    </a:moveTo>
                    <a:lnTo>
                      <a:pt x="24" y="20"/>
                    </a:lnTo>
                    <a:lnTo>
                      <a:pt x="24" y="22"/>
                    </a:lnTo>
                    <a:lnTo>
                      <a:pt x="20" y="26"/>
                    </a:lnTo>
                    <a:lnTo>
                      <a:pt x="16" y="20"/>
                    </a:lnTo>
                    <a:lnTo>
                      <a:pt x="10" y="22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6"/>
                    </a:lnTo>
                    <a:lnTo>
                      <a:pt x="12" y="44"/>
                    </a:lnTo>
                    <a:lnTo>
                      <a:pt x="22" y="38"/>
                    </a:lnTo>
                    <a:lnTo>
                      <a:pt x="32" y="36"/>
                    </a:lnTo>
                    <a:lnTo>
                      <a:pt x="38" y="30"/>
                    </a:lnTo>
                    <a:lnTo>
                      <a:pt x="40" y="24"/>
                    </a:lnTo>
                    <a:lnTo>
                      <a:pt x="44" y="16"/>
                    </a:lnTo>
                    <a:lnTo>
                      <a:pt x="46" y="8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34" y="2"/>
                    </a:lnTo>
                    <a:lnTo>
                      <a:pt x="32" y="10"/>
                    </a:lnTo>
                    <a:lnTo>
                      <a:pt x="32" y="16"/>
                    </a:lnTo>
                    <a:lnTo>
                      <a:pt x="24" y="1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93" name="Group 34"/>
            <p:cNvGrpSpPr>
              <a:grpSpLocks/>
            </p:cNvGrpSpPr>
            <p:nvPr/>
          </p:nvGrpSpPr>
          <p:grpSpPr bwMode="gray">
            <a:xfrm>
              <a:off x="2243030" y="2248376"/>
              <a:ext cx="575359" cy="1471606"/>
              <a:chOff x="3430" y="425"/>
              <a:chExt cx="577" cy="1548"/>
            </a:xfrm>
            <a:solidFill>
              <a:srgbClr val="008AB3"/>
            </a:solidFill>
          </p:grpSpPr>
          <p:sp>
            <p:nvSpPr>
              <p:cNvPr id="269" name="Freeform 35"/>
              <p:cNvSpPr>
                <a:spLocks/>
              </p:cNvSpPr>
              <p:nvPr/>
            </p:nvSpPr>
            <p:spPr bwMode="gray">
              <a:xfrm>
                <a:off x="3656" y="1947"/>
                <a:ext cx="29" cy="26"/>
              </a:xfrm>
              <a:custGeom>
                <a:avLst/>
                <a:gdLst>
                  <a:gd name="T0" fmla="*/ 2 w 26"/>
                  <a:gd name="T1" fmla="*/ 0 h 24"/>
                  <a:gd name="T2" fmla="*/ 8 w 26"/>
                  <a:gd name="T3" fmla="*/ 2 h 24"/>
                  <a:gd name="T4" fmla="*/ 18 w 26"/>
                  <a:gd name="T5" fmla="*/ 6 h 24"/>
                  <a:gd name="T6" fmla="*/ 26 w 26"/>
                  <a:gd name="T7" fmla="*/ 12 h 24"/>
                  <a:gd name="T8" fmla="*/ 26 w 26"/>
                  <a:gd name="T9" fmla="*/ 18 h 24"/>
                  <a:gd name="T10" fmla="*/ 22 w 26"/>
                  <a:gd name="T11" fmla="*/ 22 h 24"/>
                  <a:gd name="T12" fmla="*/ 12 w 26"/>
                  <a:gd name="T13" fmla="*/ 24 h 24"/>
                  <a:gd name="T14" fmla="*/ 10 w 26"/>
                  <a:gd name="T15" fmla="*/ 20 h 24"/>
                  <a:gd name="T16" fmla="*/ 4 w 26"/>
                  <a:gd name="T17" fmla="*/ 22 h 24"/>
                  <a:gd name="T18" fmla="*/ 0 w 26"/>
                  <a:gd name="T19" fmla="*/ 14 h 24"/>
                  <a:gd name="T20" fmla="*/ 0 w 26"/>
                  <a:gd name="T21" fmla="*/ 6 h 24"/>
                  <a:gd name="T22" fmla="*/ 2 w 26"/>
                  <a:gd name="T2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24">
                    <a:moveTo>
                      <a:pt x="2" y="0"/>
                    </a:moveTo>
                    <a:lnTo>
                      <a:pt x="8" y="2"/>
                    </a:lnTo>
                    <a:lnTo>
                      <a:pt x="18" y="6"/>
                    </a:lnTo>
                    <a:lnTo>
                      <a:pt x="26" y="12"/>
                    </a:lnTo>
                    <a:lnTo>
                      <a:pt x="26" y="18"/>
                    </a:lnTo>
                    <a:lnTo>
                      <a:pt x="22" y="22"/>
                    </a:lnTo>
                    <a:lnTo>
                      <a:pt x="12" y="24"/>
                    </a:lnTo>
                    <a:lnTo>
                      <a:pt x="10" y="20"/>
                    </a:lnTo>
                    <a:lnTo>
                      <a:pt x="4" y="22"/>
                    </a:lnTo>
                    <a:lnTo>
                      <a:pt x="0" y="14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0" name="Freeform 36"/>
              <p:cNvSpPr>
                <a:spLocks/>
              </p:cNvSpPr>
              <p:nvPr/>
            </p:nvSpPr>
            <p:spPr bwMode="gray">
              <a:xfrm>
                <a:off x="3430" y="425"/>
                <a:ext cx="577" cy="1520"/>
              </a:xfrm>
              <a:custGeom>
                <a:avLst/>
                <a:gdLst>
                  <a:gd name="T0" fmla="*/ 336 w 526"/>
                  <a:gd name="T1" fmla="*/ 0 h 1386"/>
                  <a:gd name="T2" fmla="*/ 412 w 526"/>
                  <a:gd name="T3" fmla="*/ 52 h 1386"/>
                  <a:gd name="T4" fmla="*/ 460 w 526"/>
                  <a:gd name="T5" fmla="*/ 102 h 1386"/>
                  <a:gd name="T6" fmla="*/ 498 w 526"/>
                  <a:gd name="T7" fmla="*/ 202 h 1386"/>
                  <a:gd name="T8" fmla="*/ 526 w 526"/>
                  <a:gd name="T9" fmla="*/ 302 h 1386"/>
                  <a:gd name="T10" fmla="*/ 482 w 526"/>
                  <a:gd name="T11" fmla="*/ 318 h 1386"/>
                  <a:gd name="T12" fmla="*/ 454 w 526"/>
                  <a:gd name="T13" fmla="*/ 326 h 1386"/>
                  <a:gd name="T14" fmla="*/ 432 w 526"/>
                  <a:gd name="T15" fmla="*/ 362 h 1386"/>
                  <a:gd name="T16" fmla="*/ 418 w 526"/>
                  <a:gd name="T17" fmla="*/ 414 h 1386"/>
                  <a:gd name="T18" fmla="*/ 440 w 526"/>
                  <a:gd name="T19" fmla="*/ 462 h 1386"/>
                  <a:gd name="T20" fmla="*/ 416 w 526"/>
                  <a:gd name="T21" fmla="*/ 522 h 1386"/>
                  <a:gd name="T22" fmla="*/ 376 w 526"/>
                  <a:gd name="T23" fmla="*/ 566 h 1386"/>
                  <a:gd name="T24" fmla="*/ 340 w 526"/>
                  <a:gd name="T25" fmla="*/ 592 h 1386"/>
                  <a:gd name="T26" fmla="*/ 308 w 526"/>
                  <a:gd name="T27" fmla="*/ 634 h 1386"/>
                  <a:gd name="T28" fmla="*/ 306 w 526"/>
                  <a:gd name="T29" fmla="*/ 664 h 1386"/>
                  <a:gd name="T30" fmla="*/ 288 w 526"/>
                  <a:gd name="T31" fmla="*/ 692 h 1386"/>
                  <a:gd name="T32" fmla="*/ 296 w 526"/>
                  <a:gd name="T33" fmla="*/ 746 h 1386"/>
                  <a:gd name="T34" fmla="*/ 280 w 526"/>
                  <a:gd name="T35" fmla="*/ 782 h 1386"/>
                  <a:gd name="T36" fmla="*/ 294 w 526"/>
                  <a:gd name="T37" fmla="*/ 838 h 1386"/>
                  <a:gd name="T38" fmla="*/ 330 w 526"/>
                  <a:gd name="T39" fmla="*/ 854 h 1386"/>
                  <a:gd name="T40" fmla="*/ 360 w 526"/>
                  <a:gd name="T41" fmla="*/ 876 h 1386"/>
                  <a:gd name="T42" fmla="*/ 376 w 526"/>
                  <a:gd name="T43" fmla="*/ 900 h 1386"/>
                  <a:gd name="T44" fmla="*/ 376 w 526"/>
                  <a:gd name="T45" fmla="*/ 954 h 1386"/>
                  <a:gd name="T46" fmla="*/ 360 w 526"/>
                  <a:gd name="T47" fmla="*/ 1002 h 1386"/>
                  <a:gd name="T48" fmla="*/ 336 w 526"/>
                  <a:gd name="T49" fmla="*/ 1006 h 1386"/>
                  <a:gd name="T50" fmla="*/ 308 w 526"/>
                  <a:gd name="T51" fmla="*/ 1040 h 1386"/>
                  <a:gd name="T52" fmla="*/ 292 w 526"/>
                  <a:gd name="T53" fmla="*/ 1060 h 1386"/>
                  <a:gd name="T54" fmla="*/ 290 w 526"/>
                  <a:gd name="T55" fmla="*/ 1076 h 1386"/>
                  <a:gd name="T56" fmla="*/ 294 w 526"/>
                  <a:gd name="T57" fmla="*/ 1112 h 1386"/>
                  <a:gd name="T58" fmla="*/ 294 w 526"/>
                  <a:gd name="T59" fmla="*/ 1138 h 1386"/>
                  <a:gd name="T60" fmla="*/ 298 w 526"/>
                  <a:gd name="T61" fmla="*/ 1176 h 1386"/>
                  <a:gd name="T62" fmla="*/ 290 w 526"/>
                  <a:gd name="T63" fmla="*/ 1198 h 1386"/>
                  <a:gd name="T64" fmla="*/ 274 w 526"/>
                  <a:gd name="T65" fmla="*/ 1274 h 1386"/>
                  <a:gd name="T66" fmla="*/ 244 w 526"/>
                  <a:gd name="T67" fmla="*/ 1298 h 1386"/>
                  <a:gd name="T68" fmla="*/ 204 w 526"/>
                  <a:gd name="T69" fmla="*/ 1316 h 1386"/>
                  <a:gd name="T70" fmla="*/ 184 w 526"/>
                  <a:gd name="T71" fmla="*/ 1350 h 1386"/>
                  <a:gd name="T72" fmla="*/ 154 w 526"/>
                  <a:gd name="T73" fmla="*/ 1376 h 1386"/>
                  <a:gd name="T74" fmla="*/ 106 w 526"/>
                  <a:gd name="T75" fmla="*/ 1368 h 1386"/>
                  <a:gd name="T76" fmla="*/ 106 w 526"/>
                  <a:gd name="T77" fmla="*/ 1346 h 1386"/>
                  <a:gd name="T78" fmla="*/ 88 w 526"/>
                  <a:gd name="T79" fmla="*/ 1298 h 1386"/>
                  <a:gd name="T80" fmla="*/ 100 w 526"/>
                  <a:gd name="T81" fmla="*/ 1278 h 1386"/>
                  <a:gd name="T82" fmla="*/ 60 w 526"/>
                  <a:gd name="T83" fmla="*/ 1204 h 1386"/>
                  <a:gd name="T84" fmla="*/ 44 w 526"/>
                  <a:gd name="T85" fmla="*/ 1150 h 1386"/>
                  <a:gd name="T86" fmla="*/ 36 w 526"/>
                  <a:gd name="T87" fmla="*/ 1134 h 1386"/>
                  <a:gd name="T88" fmla="*/ 40 w 526"/>
                  <a:gd name="T89" fmla="*/ 1102 h 1386"/>
                  <a:gd name="T90" fmla="*/ 10 w 526"/>
                  <a:gd name="T91" fmla="*/ 1094 h 1386"/>
                  <a:gd name="T92" fmla="*/ 10 w 526"/>
                  <a:gd name="T93" fmla="*/ 1020 h 1386"/>
                  <a:gd name="T94" fmla="*/ 34 w 526"/>
                  <a:gd name="T95" fmla="*/ 1024 h 1386"/>
                  <a:gd name="T96" fmla="*/ 38 w 526"/>
                  <a:gd name="T97" fmla="*/ 952 h 1386"/>
                  <a:gd name="T98" fmla="*/ 72 w 526"/>
                  <a:gd name="T99" fmla="*/ 884 h 1386"/>
                  <a:gd name="T100" fmla="*/ 78 w 526"/>
                  <a:gd name="T101" fmla="*/ 818 h 1386"/>
                  <a:gd name="T102" fmla="*/ 46 w 526"/>
                  <a:gd name="T103" fmla="*/ 740 h 1386"/>
                  <a:gd name="T104" fmla="*/ 44 w 526"/>
                  <a:gd name="T105" fmla="*/ 640 h 1386"/>
                  <a:gd name="T106" fmla="*/ 42 w 526"/>
                  <a:gd name="T107" fmla="*/ 578 h 1386"/>
                  <a:gd name="T108" fmla="*/ 96 w 526"/>
                  <a:gd name="T109" fmla="*/ 528 h 1386"/>
                  <a:gd name="T110" fmla="*/ 112 w 526"/>
                  <a:gd name="T111" fmla="*/ 482 h 1386"/>
                  <a:gd name="T112" fmla="*/ 126 w 526"/>
                  <a:gd name="T113" fmla="*/ 422 h 1386"/>
                  <a:gd name="T114" fmla="*/ 150 w 526"/>
                  <a:gd name="T115" fmla="*/ 316 h 1386"/>
                  <a:gd name="T116" fmla="*/ 182 w 526"/>
                  <a:gd name="T117" fmla="*/ 238 h 1386"/>
                  <a:gd name="T118" fmla="*/ 200 w 526"/>
                  <a:gd name="T119" fmla="*/ 146 h 1386"/>
                  <a:gd name="T120" fmla="*/ 252 w 526"/>
                  <a:gd name="T121" fmla="*/ 106 h 1386"/>
                  <a:gd name="T122" fmla="*/ 286 w 526"/>
                  <a:gd name="T123" fmla="*/ 64 h 1386"/>
                  <a:gd name="T124" fmla="*/ 318 w 526"/>
                  <a:gd name="T125" fmla="*/ 52 h 1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26" h="1386">
                    <a:moveTo>
                      <a:pt x="328" y="26"/>
                    </a:moveTo>
                    <a:lnTo>
                      <a:pt x="324" y="18"/>
                    </a:lnTo>
                    <a:lnTo>
                      <a:pt x="318" y="6"/>
                    </a:lnTo>
                    <a:lnTo>
                      <a:pt x="326" y="4"/>
                    </a:lnTo>
                    <a:lnTo>
                      <a:pt x="332" y="2"/>
                    </a:lnTo>
                    <a:lnTo>
                      <a:pt x="336" y="0"/>
                    </a:lnTo>
                    <a:lnTo>
                      <a:pt x="346" y="12"/>
                    </a:lnTo>
                    <a:lnTo>
                      <a:pt x="346" y="14"/>
                    </a:lnTo>
                    <a:lnTo>
                      <a:pt x="376" y="34"/>
                    </a:lnTo>
                    <a:lnTo>
                      <a:pt x="388" y="40"/>
                    </a:lnTo>
                    <a:lnTo>
                      <a:pt x="394" y="50"/>
                    </a:lnTo>
                    <a:lnTo>
                      <a:pt x="412" y="52"/>
                    </a:lnTo>
                    <a:lnTo>
                      <a:pt x="434" y="60"/>
                    </a:lnTo>
                    <a:lnTo>
                      <a:pt x="444" y="70"/>
                    </a:lnTo>
                    <a:lnTo>
                      <a:pt x="444" y="76"/>
                    </a:lnTo>
                    <a:lnTo>
                      <a:pt x="452" y="78"/>
                    </a:lnTo>
                    <a:lnTo>
                      <a:pt x="466" y="94"/>
                    </a:lnTo>
                    <a:lnTo>
                      <a:pt x="460" y="102"/>
                    </a:lnTo>
                    <a:lnTo>
                      <a:pt x="466" y="140"/>
                    </a:lnTo>
                    <a:lnTo>
                      <a:pt x="480" y="144"/>
                    </a:lnTo>
                    <a:lnTo>
                      <a:pt x="480" y="160"/>
                    </a:lnTo>
                    <a:lnTo>
                      <a:pt x="476" y="162"/>
                    </a:lnTo>
                    <a:lnTo>
                      <a:pt x="476" y="172"/>
                    </a:lnTo>
                    <a:lnTo>
                      <a:pt x="498" y="202"/>
                    </a:lnTo>
                    <a:lnTo>
                      <a:pt x="500" y="226"/>
                    </a:lnTo>
                    <a:lnTo>
                      <a:pt x="494" y="238"/>
                    </a:lnTo>
                    <a:lnTo>
                      <a:pt x="496" y="258"/>
                    </a:lnTo>
                    <a:lnTo>
                      <a:pt x="510" y="268"/>
                    </a:lnTo>
                    <a:lnTo>
                      <a:pt x="518" y="286"/>
                    </a:lnTo>
                    <a:lnTo>
                      <a:pt x="526" y="302"/>
                    </a:lnTo>
                    <a:lnTo>
                      <a:pt x="520" y="308"/>
                    </a:lnTo>
                    <a:lnTo>
                      <a:pt x="512" y="310"/>
                    </a:lnTo>
                    <a:lnTo>
                      <a:pt x="502" y="306"/>
                    </a:lnTo>
                    <a:lnTo>
                      <a:pt x="494" y="306"/>
                    </a:lnTo>
                    <a:lnTo>
                      <a:pt x="490" y="314"/>
                    </a:lnTo>
                    <a:lnTo>
                      <a:pt x="482" y="318"/>
                    </a:lnTo>
                    <a:lnTo>
                      <a:pt x="470" y="314"/>
                    </a:lnTo>
                    <a:lnTo>
                      <a:pt x="466" y="308"/>
                    </a:lnTo>
                    <a:lnTo>
                      <a:pt x="466" y="312"/>
                    </a:lnTo>
                    <a:lnTo>
                      <a:pt x="456" y="310"/>
                    </a:lnTo>
                    <a:lnTo>
                      <a:pt x="452" y="318"/>
                    </a:lnTo>
                    <a:lnTo>
                      <a:pt x="454" y="326"/>
                    </a:lnTo>
                    <a:lnTo>
                      <a:pt x="458" y="332"/>
                    </a:lnTo>
                    <a:lnTo>
                      <a:pt x="456" y="344"/>
                    </a:lnTo>
                    <a:lnTo>
                      <a:pt x="448" y="344"/>
                    </a:lnTo>
                    <a:lnTo>
                      <a:pt x="440" y="344"/>
                    </a:lnTo>
                    <a:lnTo>
                      <a:pt x="442" y="352"/>
                    </a:lnTo>
                    <a:lnTo>
                      <a:pt x="432" y="362"/>
                    </a:lnTo>
                    <a:lnTo>
                      <a:pt x="424" y="364"/>
                    </a:lnTo>
                    <a:lnTo>
                      <a:pt x="432" y="372"/>
                    </a:lnTo>
                    <a:lnTo>
                      <a:pt x="432" y="380"/>
                    </a:lnTo>
                    <a:lnTo>
                      <a:pt x="430" y="390"/>
                    </a:lnTo>
                    <a:lnTo>
                      <a:pt x="426" y="402"/>
                    </a:lnTo>
                    <a:lnTo>
                      <a:pt x="418" y="414"/>
                    </a:lnTo>
                    <a:lnTo>
                      <a:pt x="424" y="422"/>
                    </a:lnTo>
                    <a:lnTo>
                      <a:pt x="422" y="436"/>
                    </a:lnTo>
                    <a:lnTo>
                      <a:pt x="428" y="438"/>
                    </a:lnTo>
                    <a:lnTo>
                      <a:pt x="436" y="444"/>
                    </a:lnTo>
                    <a:lnTo>
                      <a:pt x="442" y="454"/>
                    </a:lnTo>
                    <a:lnTo>
                      <a:pt x="440" y="462"/>
                    </a:lnTo>
                    <a:lnTo>
                      <a:pt x="438" y="468"/>
                    </a:lnTo>
                    <a:lnTo>
                      <a:pt x="434" y="474"/>
                    </a:lnTo>
                    <a:lnTo>
                      <a:pt x="422" y="482"/>
                    </a:lnTo>
                    <a:lnTo>
                      <a:pt x="422" y="492"/>
                    </a:lnTo>
                    <a:lnTo>
                      <a:pt x="416" y="510"/>
                    </a:lnTo>
                    <a:lnTo>
                      <a:pt x="416" y="522"/>
                    </a:lnTo>
                    <a:lnTo>
                      <a:pt x="408" y="530"/>
                    </a:lnTo>
                    <a:lnTo>
                      <a:pt x="400" y="534"/>
                    </a:lnTo>
                    <a:lnTo>
                      <a:pt x="396" y="540"/>
                    </a:lnTo>
                    <a:lnTo>
                      <a:pt x="384" y="546"/>
                    </a:lnTo>
                    <a:lnTo>
                      <a:pt x="378" y="558"/>
                    </a:lnTo>
                    <a:lnTo>
                      <a:pt x="376" y="566"/>
                    </a:lnTo>
                    <a:lnTo>
                      <a:pt x="366" y="556"/>
                    </a:lnTo>
                    <a:lnTo>
                      <a:pt x="366" y="566"/>
                    </a:lnTo>
                    <a:lnTo>
                      <a:pt x="358" y="566"/>
                    </a:lnTo>
                    <a:lnTo>
                      <a:pt x="354" y="582"/>
                    </a:lnTo>
                    <a:lnTo>
                      <a:pt x="352" y="592"/>
                    </a:lnTo>
                    <a:lnTo>
                      <a:pt x="340" y="592"/>
                    </a:lnTo>
                    <a:lnTo>
                      <a:pt x="334" y="596"/>
                    </a:lnTo>
                    <a:lnTo>
                      <a:pt x="322" y="612"/>
                    </a:lnTo>
                    <a:lnTo>
                      <a:pt x="328" y="620"/>
                    </a:lnTo>
                    <a:lnTo>
                      <a:pt x="324" y="628"/>
                    </a:lnTo>
                    <a:lnTo>
                      <a:pt x="314" y="634"/>
                    </a:lnTo>
                    <a:lnTo>
                      <a:pt x="308" y="634"/>
                    </a:lnTo>
                    <a:lnTo>
                      <a:pt x="304" y="632"/>
                    </a:lnTo>
                    <a:lnTo>
                      <a:pt x="300" y="624"/>
                    </a:lnTo>
                    <a:lnTo>
                      <a:pt x="298" y="628"/>
                    </a:lnTo>
                    <a:lnTo>
                      <a:pt x="302" y="640"/>
                    </a:lnTo>
                    <a:lnTo>
                      <a:pt x="306" y="654"/>
                    </a:lnTo>
                    <a:lnTo>
                      <a:pt x="306" y="664"/>
                    </a:lnTo>
                    <a:lnTo>
                      <a:pt x="300" y="670"/>
                    </a:lnTo>
                    <a:lnTo>
                      <a:pt x="292" y="674"/>
                    </a:lnTo>
                    <a:lnTo>
                      <a:pt x="286" y="668"/>
                    </a:lnTo>
                    <a:lnTo>
                      <a:pt x="284" y="672"/>
                    </a:lnTo>
                    <a:lnTo>
                      <a:pt x="284" y="684"/>
                    </a:lnTo>
                    <a:lnTo>
                      <a:pt x="288" y="692"/>
                    </a:lnTo>
                    <a:lnTo>
                      <a:pt x="296" y="696"/>
                    </a:lnTo>
                    <a:lnTo>
                      <a:pt x="296" y="706"/>
                    </a:lnTo>
                    <a:lnTo>
                      <a:pt x="290" y="718"/>
                    </a:lnTo>
                    <a:lnTo>
                      <a:pt x="286" y="734"/>
                    </a:lnTo>
                    <a:lnTo>
                      <a:pt x="290" y="742"/>
                    </a:lnTo>
                    <a:lnTo>
                      <a:pt x="296" y="746"/>
                    </a:lnTo>
                    <a:lnTo>
                      <a:pt x="296" y="754"/>
                    </a:lnTo>
                    <a:lnTo>
                      <a:pt x="288" y="752"/>
                    </a:lnTo>
                    <a:lnTo>
                      <a:pt x="282" y="752"/>
                    </a:lnTo>
                    <a:lnTo>
                      <a:pt x="282" y="760"/>
                    </a:lnTo>
                    <a:lnTo>
                      <a:pt x="282" y="772"/>
                    </a:lnTo>
                    <a:lnTo>
                      <a:pt x="280" y="782"/>
                    </a:lnTo>
                    <a:lnTo>
                      <a:pt x="286" y="784"/>
                    </a:lnTo>
                    <a:lnTo>
                      <a:pt x="288" y="788"/>
                    </a:lnTo>
                    <a:lnTo>
                      <a:pt x="282" y="796"/>
                    </a:lnTo>
                    <a:lnTo>
                      <a:pt x="286" y="810"/>
                    </a:lnTo>
                    <a:lnTo>
                      <a:pt x="286" y="828"/>
                    </a:lnTo>
                    <a:lnTo>
                      <a:pt x="294" y="838"/>
                    </a:lnTo>
                    <a:lnTo>
                      <a:pt x="292" y="850"/>
                    </a:lnTo>
                    <a:lnTo>
                      <a:pt x="306" y="854"/>
                    </a:lnTo>
                    <a:lnTo>
                      <a:pt x="314" y="854"/>
                    </a:lnTo>
                    <a:lnTo>
                      <a:pt x="316" y="862"/>
                    </a:lnTo>
                    <a:lnTo>
                      <a:pt x="322" y="858"/>
                    </a:lnTo>
                    <a:lnTo>
                      <a:pt x="330" y="854"/>
                    </a:lnTo>
                    <a:lnTo>
                      <a:pt x="332" y="860"/>
                    </a:lnTo>
                    <a:lnTo>
                      <a:pt x="334" y="866"/>
                    </a:lnTo>
                    <a:lnTo>
                      <a:pt x="340" y="872"/>
                    </a:lnTo>
                    <a:lnTo>
                      <a:pt x="344" y="876"/>
                    </a:lnTo>
                    <a:lnTo>
                      <a:pt x="352" y="876"/>
                    </a:lnTo>
                    <a:lnTo>
                      <a:pt x="360" y="876"/>
                    </a:lnTo>
                    <a:lnTo>
                      <a:pt x="364" y="882"/>
                    </a:lnTo>
                    <a:lnTo>
                      <a:pt x="358" y="888"/>
                    </a:lnTo>
                    <a:lnTo>
                      <a:pt x="362" y="898"/>
                    </a:lnTo>
                    <a:lnTo>
                      <a:pt x="370" y="898"/>
                    </a:lnTo>
                    <a:lnTo>
                      <a:pt x="372" y="892"/>
                    </a:lnTo>
                    <a:lnTo>
                      <a:pt x="376" y="900"/>
                    </a:lnTo>
                    <a:lnTo>
                      <a:pt x="382" y="910"/>
                    </a:lnTo>
                    <a:lnTo>
                      <a:pt x="386" y="922"/>
                    </a:lnTo>
                    <a:lnTo>
                      <a:pt x="390" y="928"/>
                    </a:lnTo>
                    <a:lnTo>
                      <a:pt x="388" y="934"/>
                    </a:lnTo>
                    <a:lnTo>
                      <a:pt x="380" y="942"/>
                    </a:lnTo>
                    <a:lnTo>
                      <a:pt x="376" y="954"/>
                    </a:lnTo>
                    <a:lnTo>
                      <a:pt x="370" y="964"/>
                    </a:lnTo>
                    <a:lnTo>
                      <a:pt x="366" y="974"/>
                    </a:lnTo>
                    <a:lnTo>
                      <a:pt x="372" y="982"/>
                    </a:lnTo>
                    <a:lnTo>
                      <a:pt x="368" y="990"/>
                    </a:lnTo>
                    <a:lnTo>
                      <a:pt x="370" y="1000"/>
                    </a:lnTo>
                    <a:lnTo>
                      <a:pt x="360" y="1002"/>
                    </a:lnTo>
                    <a:lnTo>
                      <a:pt x="354" y="1004"/>
                    </a:lnTo>
                    <a:lnTo>
                      <a:pt x="352" y="1012"/>
                    </a:lnTo>
                    <a:lnTo>
                      <a:pt x="348" y="1022"/>
                    </a:lnTo>
                    <a:lnTo>
                      <a:pt x="344" y="1028"/>
                    </a:lnTo>
                    <a:lnTo>
                      <a:pt x="338" y="1016"/>
                    </a:lnTo>
                    <a:lnTo>
                      <a:pt x="336" y="1006"/>
                    </a:lnTo>
                    <a:lnTo>
                      <a:pt x="334" y="1008"/>
                    </a:lnTo>
                    <a:lnTo>
                      <a:pt x="332" y="1012"/>
                    </a:lnTo>
                    <a:lnTo>
                      <a:pt x="330" y="1020"/>
                    </a:lnTo>
                    <a:lnTo>
                      <a:pt x="326" y="1028"/>
                    </a:lnTo>
                    <a:lnTo>
                      <a:pt x="320" y="1036"/>
                    </a:lnTo>
                    <a:lnTo>
                      <a:pt x="308" y="1040"/>
                    </a:lnTo>
                    <a:lnTo>
                      <a:pt x="304" y="1046"/>
                    </a:lnTo>
                    <a:lnTo>
                      <a:pt x="302" y="1052"/>
                    </a:lnTo>
                    <a:lnTo>
                      <a:pt x="284" y="1052"/>
                    </a:lnTo>
                    <a:lnTo>
                      <a:pt x="270" y="1052"/>
                    </a:lnTo>
                    <a:lnTo>
                      <a:pt x="280" y="1056"/>
                    </a:lnTo>
                    <a:lnTo>
                      <a:pt x="292" y="1060"/>
                    </a:lnTo>
                    <a:lnTo>
                      <a:pt x="302" y="1066"/>
                    </a:lnTo>
                    <a:lnTo>
                      <a:pt x="302" y="1068"/>
                    </a:lnTo>
                    <a:lnTo>
                      <a:pt x="302" y="1070"/>
                    </a:lnTo>
                    <a:lnTo>
                      <a:pt x="300" y="1070"/>
                    </a:lnTo>
                    <a:lnTo>
                      <a:pt x="280" y="1070"/>
                    </a:lnTo>
                    <a:lnTo>
                      <a:pt x="290" y="1076"/>
                    </a:lnTo>
                    <a:lnTo>
                      <a:pt x="294" y="1082"/>
                    </a:lnTo>
                    <a:lnTo>
                      <a:pt x="298" y="1092"/>
                    </a:lnTo>
                    <a:lnTo>
                      <a:pt x="298" y="1102"/>
                    </a:lnTo>
                    <a:lnTo>
                      <a:pt x="296" y="1106"/>
                    </a:lnTo>
                    <a:lnTo>
                      <a:pt x="292" y="1110"/>
                    </a:lnTo>
                    <a:lnTo>
                      <a:pt x="294" y="1112"/>
                    </a:lnTo>
                    <a:lnTo>
                      <a:pt x="296" y="1114"/>
                    </a:lnTo>
                    <a:lnTo>
                      <a:pt x="298" y="1124"/>
                    </a:lnTo>
                    <a:lnTo>
                      <a:pt x="286" y="1126"/>
                    </a:lnTo>
                    <a:lnTo>
                      <a:pt x="286" y="1130"/>
                    </a:lnTo>
                    <a:lnTo>
                      <a:pt x="290" y="1134"/>
                    </a:lnTo>
                    <a:lnTo>
                      <a:pt x="294" y="1138"/>
                    </a:lnTo>
                    <a:lnTo>
                      <a:pt x="294" y="1146"/>
                    </a:lnTo>
                    <a:lnTo>
                      <a:pt x="290" y="1150"/>
                    </a:lnTo>
                    <a:lnTo>
                      <a:pt x="290" y="1154"/>
                    </a:lnTo>
                    <a:lnTo>
                      <a:pt x="298" y="1160"/>
                    </a:lnTo>
                    <a:lnTo>
                      <a:pt x="296" y="1166"/>
                    </a:lnTo>
                    <a:lnTo>
                      <a:pt x="298" y="1176"/>
                    </a:lnTo>
                    <a:lnTo>
                      <a:pt x="288" y="1182"/>
                    </a:lnTo>
                    <a:lnTo>
                      <a:pt x="286" y="1190"/>
                    </a:lnTo>
                    <a:lnTo>
                      <a:pt x="286" y="1196"/>
                    </a:lnTo>
                    <a:lnTo>
                      <a:pt x="286" y="1194"/>
                    </a:lnTo>
                    <a:lnTo>
                      <a:pt x="288" y="1194"/>
                    </a:lnTo>
                    <a:lnTo>
                      <a:pt x="290" y="1198"/>
                    </a:lnTo>
                    <a:lnTo>
                      <a:pt x="296" y="1204"/>
                    </a:lnTo>
                    <a:lnTo>
                      <a:pt x="290" y="1212"/>
                    </a:lnTo>
                    <a:lnTo>
                      <a:pt x="290" y="1238"/>
                    </a:lnTo>
                    <a:lnTo>
                      <a:pt x="284" y="1250"/>
                    </a:lnTo>
                    <a:lnTo>
                      <a:pt x="280" y="1258"/>
                    </a:lnTo>
                    <a:lnTo>
                      <a:pt x="274" y="1274"/>
                    </a:lnTo>
                    <a:lnTo>
                      <a:pt x="274" y="1286"/>
                    </a:lnTo>
                    <a:lnTo>
                      <a:pt x="268" y="1296"/>
                    </a:lnTo>
                    <a:lnTo>
                      <a:pt x="262" y="1304"/>
                    </a:lnTo>
                    <a:lnTo>
                      <a:pt x="256" y="1296"/>
                    </a:lnTo>
                    <a:lnTo>
                      <a:pt x="250" y="1292"/>
                    </a:lnTo>
                    <a:lnTo>
                      <a:pt x="244" y="1298"/>
                    </a:lnTo>
                    <a:lnTo>
                      <a:pt x="234" y="1298"/>
                    </a:lnTo>
                    <a:lnTo>
                      <a:pt x="222" y="1298"/>
                    </a:lnTo>
                    <a:lnTo>
                      <a:pt x="214" y="1300"/>
                    </a:lnTo>
                    <a:lnTo>
                      <a:pt x="206" y="1302"/>
                    </a:lnTo>
                    <a:lnTo>
                      <a:pt x="206" y="1312"/>
                    </a:lnTo>
                    <a:lnTo>
                      <a:pt x="204" y="1316"/>
                    </a:lnTo>
                    <a:lnTo>
                      <a:pt x="196" y="1314"/>
                    </a:lnTo>
                    <a:lnTo>
                      <a:pt x="192" y="1316"/>
                    </a:lnTo>
                    <a:lnTo>
                      <a:pt x="180" y="1326"/>
                    </a:lnTo>
                    <a:lnTo>
                      <a:pt x="178" y="1332"/>
                    </a:lnTo>
                    <a:lnTo>
                      <a:pt x="174" y="1348"/>
                    </a:lnTo>
                    <a:lnTo>
                      <a:pt x="184" y="1350"/>
                    </a:lnTo>
                    <a:lnTo>
                      <a:pt x="186" y="1358"/>
                    </a:lnTo>
                    <a:lnTo>
                      <a:pt x="186" y="1368"/>
                    </a:lnTo>
                    <a:lnTo>
                      <a:pt x="178" y="1378"/>
                    </a:lnTo>
                    <a:lnTo>
                      <a:pt x="170" y="1380"/>
                    </a:lnTo>
                    <a:lnTo>
                      <a:pt x="162" y="1374"/>
                    </a:lnTo>
                    <a:lnTo>
                      <a:pt x="154" y="1376"/>
                    </a:lnTo>
                    <a:lnTo>
                      <a:pt x="146" y="1380"/>
                    </a:lnTo>
                    <a:lnTo>
                      <a:pt x="136" y="1386"/>
                    </a:lnTo>
                    <a:lnTo>
                      <a:pt x="118" y="1382"/>
                    </a:lnTo>
                    <a:lnTo>
                      <a:pt x="106" y="1384"/>
                    </a:lnTo>
                    <a:lnTo>
                      <a:pt x="112" y="1374"/>
                    </a:lnTo>
                    <a:lnTo>
                      <a:pt x="106" y="1368"/>
                    </a:lnTo>
                    <a:lnTo>
                      <a:pt x="106" y="1366"/>
                    </a:lnTo>
                    <a:lnTo>
                      <a:pt x="106" y="1362"/>
                    </a:lnTo>
                    <a:lnTo>
                      <a:pt x="108" y="1360"/>
                    </a:lnTo>
                    <a:lnTo>
                      <a:pt x="116" y="1356"/>
                    </a:lnTo>
                    <a:lnTo>
                      <a:pt x="114" y="1350"/>
                    </a:lnTo>
                    <a:lnTo>
                      <a:pt x="106" y="1346"/>
                    </a:lnTo>
                    <a:lnTo>
                      <a:pt x="106" y="1340"/>
                    </a:lnTo>
                    <a:lnTo>
                      <a:pt x="100" y="1326"/>
                    </a:lnTo>
                    <a:lnTo>
                      <a:pt x="92" y="1316"/>
                    </a:lnTo>
                    <a:lnTo>
                      <a:pt x="86" y="1306"/>
                    </a:lnTo>
                    <a:lnTo>
                      <a:pt x="82" y="1294"/>
                    </a:lnTo>
                    <a:lnTo>
                      <a:pt x="88" y="1298"/>
                    </a:lnTo>
                    <a:lnTo>
                      <a:pt x="96" y="1302"/>
                    </a:lnTo>
                    <a:lnTo>
                      <a:pt x="100" y="1296"/>
                    </a:lnTo>
                    <a:lnTo>
                      <a:pt x="94" y="1292"/>
                    </a:lnTo>
                    <a:lnTo>
                      <a:pt x="86" y="1284"/>
                    </a:lnTo>
                    <a:lnTo>
                      <a:pt x="90" y="1278"/>
                    </a:lnTo>
                    <a:lnTo>
                      <a:pt x="100" y="1278"/>
                    </a:lnTo>
                    <a:lnTo>
                      <a:pt x="104" y="1268"/>
                    </a:lnTo>
                    <a:lnTo>
                      <a:pt x="100" y="1254"/>
                    </a:lnTo>
                    <a:lnTo>
                      <a:pt x="90" y="1256"/>
                    </a:lnTo>
                    <a:lnTo>
                      <a:pt x="82" y="1240"/>
                    </a:lnTo>
                    <a:lnTo>
                      <a:pt x="74" y="1232"/>
                    </a:lnTo>
                    <a:lnTo>
                      <a:pt x="60" y="1204"/>
                    </a:lnTo>
                    <a:lnTo>
                      <a:pt x="58" y="1190"/>
                    </a:lnTo>
                    <a:lnTo>
                      <a:pt x="48" y="1190"/>
                    </a:lnTo>
                    <a:lnTo>
                      <a:pt x="48" y="1170"/>
                    </a:lnTo>
                    <a:lnTo>
                      <a:pt x="44" y="1162"/>
                    </a:lnTo>
                    <a:lnTo>
                      <a:pt x="48" y="1154"/>
                    </a:lnTo>
                    <a:lnTo>
                      <a:pt x="44" y="1150"/>
                    </a:lnTo>
                    <a:lnTo>
                      <a:pt x="40" y="1158"/>
                    </a:lnTo>
                    <a:lnTo>
                      <a:pt x="34" y="1156"/>
                    </a:lnTo>
                    <a:lnTo>
                      <a:pt x="32" y="1156"/>
                    </a:lnTo>
                    <a:lnTo>
                      <a:pt x="30" y="1154"/>
                    </a:lnTo>
                    <a:lnTo>
                      <a:pt x="36" y="1144"/>
                    </a:lnTo>
                    <a:lnTo>
                      <a:pt x="36" y="1134"/>
                    </a:lnTo>
                    <a:lnTo>
                      <a:pt x="36" y="1128"/>
                    </a:lnTo>
                    <a:lnTo>
                      <a:pt x="30" y="1122"/>
                    </a:lnTo>
                    <a:lnTo>
                      <a:pt x="36" y="1118"/>
                    </a:lnTo>
                    <a:lnTo>
                      <a:pt x="40" y="1114"/>
                    </a:lnTo>
                    <a:lnTo>
                      <a:pt x="42" y="1112"/>
                    </a:lnTo>
                    <a:lnTo>
                      <a:pt x="40" y="1102"/>
                    </a:lnTo>
                    <a:lnTo>
                      <a:pt x="30" y="1102"/>
                    </a:lnTo>
                    <a:lnTo>
                      <a:pt x="24" y="1112"/>
                    </a:lnTo>
                    <a:lnTo>
                      <a:pt x="16" y="1116"/>
                    </a:lnTo>
                    <a:lnTo>
                      <a:pt x="20" y="1102"/>
                    </a:lnTo>
                    <a:lnTo>
                      <a:pt x="18" y="1094"/>
                    </a:lnTo>
                    <a:lnTo>
                      <a:pt x="10" y="1094"/>
                    </a:lnTo>
                    <a:lnTo>
                      <a:pt x="10" y="1072"/>
                    </a:lnTo>
                    <a:lnTo>
                      <a:pt x="8" y="1054"/>
                    </a:lnTo>
                    <a:lnTo>
                      <a:pt x="6" y="1042"/>
                    </a:lnTo>
                    <a:lnTo>
                      <a:pt x="0" y="1032"/>
                    </a:lnTo>
                    <a:lnTo>
                      <a:pt x="4" y="1026"/>
                    </a:lnTo>
                    <a:lnTo>
                      <a:pt x="10" y="1020"/>
                    </a:lnTo>
                    <a:lnTo>
                      <a:pt x="14" y="1022"/>
                    </a:lnTo>
                    <a:lnTo>
                      <a:pt x="16" y="1026"/>
                    </a:lnTo>
                    <a:lnTo>
                      <a:pt x="18" y="1036"/>
                    </a:lnTo>
                    <a:lnTo>
                      <a:pt x="24" y="1042"/>
                    </a:lnTo>
                    <a:lnTo>
                      <a:pt x="30" y="1038"/>
                    </a:lnTo>
                    <a:lnTo>
                      <a:pt x="34" y="1024"/>
                    </a:lnTo>
                    <a:lnTo>
                      <a:pt x="36" y="1012"/>
                    </a:lnTo>
                    <a:lnTo>
                      <a:pt x="36" y="994"/>
                    </a:lnTo>
                    <a:lnTo>
                      <a:pt x="32" y="984"/>
                    </a:lnTo>
                    <a:lnTo>
                      <a:pt x="28" y="970"/>
                    </a:lnTo>
                    <a:lnTo>
                      <a:pt x="36" y="966"/>
                    </a:lnTo>
                    <a:lnTo>
                      <a:pt x="38" y="952"/>
                    </a:lnTo>
                    <a:lnTo>
                      <a:pt x="34" y="948"/>
                    </a:lnTo>
                    <a:lnTo>
                      <a:pt x="40" y="942"/>
                    </a:lnTo>
                    <a:lnTo>
                      <a:pt x="52" y="942"/>
                    </a:lnTo>
                    <a:lnTo>
                      <a:pt x="66" y="928"/>
                    </a:lnTo>
                    <a:lnTo>
                      <a:pt x="68" y="900"/>
                    </a:lnTo>
                    <a:lnTo>
                      <a:pt x="72" y="884"/>
                    </a:lnTo>
                    <a:lnTo>
                      <a:pt x="66" y="872"/>
                    </a:lnTo>
                    <a:lnTo>
                      <a:pt x="60" y="854"/>
                    </a:lnTo>
                    <a:lnTo>
                      <a:pt x="54" y="842"/>
                    </a:lnTo>
                    <a:lnTo>
                      <a:pt x="58" y="832"/>
                    </a:lnTo>
                    <a:lnTo>
                      <a:pt x="74" y="828"/>
                    </a:lnTo>
                    <a:lnTo>
                      <a:pt x="78" y="818"/>
                    </a:lnTo>
                    <a:lnTo>
                      <a:pt x="82" y="802"/>
                    </a:lnTo>
                    <a:lnTo>
                      <a:pt x="80" y="794"/>
                    </a:lnTo>
                    <a:lnTo>
                      <a:pt x="66" y="780"/>
                    </a:lnTo>
                    <a:lnTo>
                      <a:pt x="60" y="778"/>
                    </a:lnTo>
                    <a:lnTo>
                      <a:pt x="48" y="764"/>
                    </a:lnTo>
                    <a:lnTo>
                      <a:pt x="46" y="740"/>
                    </a:lnTo>
                    <a:lnTo>
                      <a:pt x="54" y="708"/>
                    </a:lnTo>
                    <a:lnTo>
                      <a:pt x="42" y="686"/>
                    </a:lnTo>
                    <a:lnTo>
                      <a:pt x="42" y="668"/>
                    </a:lnTo>
                    <a:lnTo>
                      <a:pt x="42" y="658"/>
                    </a:lnTo>
                    <a:lnTo>
                      <a:pt x="38" y="650"/>
                    </a:lnTo>
                    <a:lnTo>
                      <a:pt x="44" y="640"/>
                    </a:lnTo>
                    <a:lnTo>
                      <a:pt x="44" y="630"/>
                    </a:lnTo>
                    <a:lnTo>
                      <a:pt x="38" y="618"/>
                    </a:lnTo>
                    <a:lnTo>
                      <a:pt x="34" y="610"/>
                    </a:lnTo>
                    <a:lnTo>
                      <a:pt x="38" y="602"/>
                    </a:lnTo>
                    <a:lnTo>
                      <a:pt x="42" y="588"/>
                    </a:lnTo>
                    <a:lnTo>
                      <a:pt x="42" y="578"/>
                    </a:lnTo>
                    <a:lnTo>
                      <a:pt x="46" y="570"/>
                    </a:lnTo>
                    <a:lnTo>
                      <a:pt x="54" y="556"/>
                    </a:lnTo>
                    <a:lnTo>
                      <a:pt x="60" y="544"/>
                    </a:lnTo>
                    <a:lnTo>
                      <a:pt x="68" y="534"/>
                    </a:lnTo>
                    <a:lnTo>
                      <a:pt x="80" y="528"/>
                    </a:lnTo>
                    <a:lnTo>
                      <a:pt x="96" y="528"/>
                    </a:lnTo>
                    <a:lnTo>
                      <a:pt x="118" y="532"/>
                    </a:lnTo>
                    <a:lnTo>
                      <a:pt x="122" y="522"/>
                    </a:lnTo>
                    <a:lnTo>
                      <a:pt x="126" y="516"/>
                    </a:lnTo>
                    <a:lnTo>
                      <a:pt x="122" y="502"/>
                    </a:lnTo>
                    <a:lnTo>
                      <a:pt x="122" y="486"/>
                    </a:lnTo>
                    <a:lnTo>
                      <a:pt x="112" y="482"/>
                    </a:lnTo>
                    <a:lnTo>
                      <a:pt x="102" y="480"/>
                    </a:lnTo>
                    <a:lnTo>
                      <a:pt x="102" y="470"/>
                    </a:lnTo>
                    <a:lnTo>
                      <a:pt x="108" y="458"/>
                    </a:lnTo>
                    <a:lnTo>
                      <a:pt x="114" y="450"/>
                    </a:lnTo>
                    <a:lnTo>
                      <a:pt x="122" y="434"/>
                    </a:lnTo>
                    <a:lnTo>
                      <a:pt x="126" y="422"/>
                    </a:lnTo>
                    <a:lnTo>
                      <a:pt x="132" y="400"/>
                    </a:lnTo>
                    <a:lnTo>
                      <a:pt x="134" y="364"/>
                    </a:lnTo>
                    <a:lnTo>
                      <a:pt x="136" y="344"/>
                    </a:lnTo>
                    <a:lnTo>
                      <a:pt x="132" y="332"/>
                    </a:lnTo>
                    <a:lnTo>
                      <a:pt x="132" y="320"/>
                    </a:lnTo>
                    <a:lnTo>
                      <a:pt x="150" y="316"/>
                    </a:lnTo>
                    <a:lnTo>
                      <a:pt x="166" y="302"/>
                    </a:lnTo>
                    <a:lnTo>
                      <a:pt x="166" y="288"/>
                    </a:lnTo>
                    <a:lnTo>
                      <a:pt x="162" y="280"/>
                    </a:lnTo>
                    <a:lnTo>
                      <a:pt x="172" y="268"/>
                    </a:lnTo>
                    <a:lnTo>
                      <a:pt x="182" y="248"/>
                    </a:lnTo>
                    <a:lnTo>
                      <a:pt x="182" y="238"/>
                    </a:lnTo>
                    <a:lnTo>
                      <a:pt x="196" y="226"/>
                    </a:lnTo>
                    <a:lnTo>
                      <a:pt x="198" y="206"/>
                    </a:lnTo>
                    <a:lnTo>
                      <a:pt x="190" y="196"/>
                    </a:lnTo>
                    <a:lnTo>
                      <a:pt x="182" y="182"/>
                    </a:lnTo>
                    <a:lnTo>
                      <a:pt x="198" y="166"/>
                    </a:lnTo>
                    <a:lnTo>
                      <a:pt x="200" y="146"/>
                    </a:lnTo>
                    <a:lnTo>
                      <a:pt x="204" y="132"/>
                    </a:lnTo>
                    <a:lnTo>
                      <a:pt x="220" y="114"/>
                    </a:lnTo>
                    <a:lnTo>
                      <a:pt x="232" y="114"/>
                    </a:lnTo>
                    <a:lnTo>
                      <a:pt x="238" y="120"/>
                    </a:lnTo>
                    <a:lnTo>
                      <a:pt x="248" y="120"/>
                    </a:lnTo>
                    <a:lnTo>
                      <a:pt x="252" y="106"/>
                    </a:lnTo>
                    <a:lnTo>
                      <a:pt x="252" y="88"/>
                    </a:lnTo>
                    <a:lnTo>
                      <a:pt x="250" y="78"/>
                    </a:lnTo>
                    <a:lnTo>
                      <a:pt x="248" y="66"/>
                    </a:lnTo>
                    <a:lnTo>
                      <a:pt x="258" y="62"/>
                    </a:lnTo>
                    <a:lnTo>
                      <a:pt x="272" y="66"/>
                    </a:lnTo>
                    <a:lnTo>
                      <a:pt x="286" y="64"/>
                    </a:lnTo>
                    <a:lnTo>
                      <a:pt x="298" y="68"/>
                    </a:lnTo>
                    <a:lnTo>
                      <a:pt x="316" y="74"/>
                    </a:lnTo>
                    <a:lnTo>
                      <a:pt x="328" y="66"/>
                    </a:lnTo>
                    <a:lnTo>
                      <a:pt x="328" y="60"/>
                    </a:lnTo>
                    <a:lnTo>
                      <a:pt x="320" y="60"/>
                    </a:lnTo>
                    <a:lnTo>
                      <a:pt x="318" y="52"/>
                    </a:lnTo>
                    <a:lnTo>
                      <a:pt x="326" y="36"/>
                    </a:lnTo>
                    <a:lnTo>
                      <a:pt x="328" y="2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1" name="Freeform 37"/>
              <p:cNvSpPr>
                <a:spLocks/>
              </p:cNvSpPr>
              <p:nvPr/>
            </p:nvSpPr>
            <p:spPr bwMode="gray">
              <a:xfrm>
                <a:off x="3836" y="1638"/>
                <a:ext cx="53" cy="112"/>
              </a:xfrm>
              <a:custGeom>
                <a:avLst/>
                <a:gdLst>
                  <a:gd name="T0" fmla="*/ 48 w 48"/>
                  <a:gd name="T1" fmla="*/ 6 h 102"/>
                  <a:gd name="T2" fmla="*/ 42 w 48"/>
                  <a:gd name="T3" fmla="*/ 18 h 102"/>
                  <a:gd name="T4" fmla="*/ 34 w 48"/>
                  <a:gd name="T5" fmla="*/ 24 h 102"/>
                  <a:gd name="T6" fmla="*/ 34 w 48"/>
                  <a:gd name="T7" fmla="*/ 40 h 102"/>
                  <a:gd name="T8" fmla="*/ 36 w 48"/>
                  <a:gd name="T9" fmla="*/ 48 h 102"/>
                  <a:gd name="T10" fmla="*/ 42 w 48"/>
                  <a:gd name="T11" fmla="*/ 52 h 102"/>
                  <a:gd name="T12" fmla="*/ 40 w 48"/>
                  <a:gd name="T13" fmla="*/ 58 h 102"/>
                  <a:gd name="T14" fmla="*/ 34 w 48"/>
                  <a:gd name="T15" fmla="*/ 62 h 102"/>
                  <a:gd name="T16" fmla="*/ 32 w 48"/>
                  <a:gd name="T17" fmla="*/ 72 h 102"/>
                  <a:gd name="T18" fmla="*/ 26 w 48"/>
                  <a:gd name="T19" fmla="*/ 76 h 102"/>
                  <a:gd name="T20" fmla="*/ 20 w 48"/>
                  <a:gd name="T21" fmla="*/ 86 h 102"/>
                  <a:gd name="T22" fmla="*/ 20 w 48"/>
                  <a:gd name="T23" fmla="*/ 94 h 102"/>
                  <a:gd name="T24" fmla="*/ 18 w 48"/>
                  <a:gd name="T25" fmla="*/ 98 h 102"/>
                  <a:gd name="T26" fmla="*/ 18 w 48"/>
                  <a:gd name="T27" fmla="*/ 102 h 102"/>
                  <a:gd name="T28" fmla="*/ 14 w 48"/>
                  <a:gd name="T29" fmla="*/ 102 h 102"/>
                  <a:gd name="T30" fmla="*/ 12 w 48"/>
                  <a:gd name="T31" fmla="*/ 100 h 102"/>
                  <a:gd name="T32" fmla="*/ 12 w 48"/>
                  <a:gd name="T33" fmla="*/ 96 h 102"/>
                  <a:gd name="T34" fmla="*/ 10 w 48"/>
                  <a:gd name="T35" fmla="*/ 88 h 102"/>
                  <a:gd name="T36" fmla="*/ 4 w 48"/>
                  <a:gd name="T37" fmla="*/ 78 h 102"/>
                  <a:gd name="T38" fmla="*/ 4 w 48"/>
                  <a:gd name="T39" fmla="*/ 68 h 102"/>
                  <a:gd name="T40" fmla="*/ 6 w 48"/>
                  <a:gd name="T41" fmla="*/ 60 h 102"/>
                  <a:gd name="T42" fmla="*/ 0 w 48"/>
                  <a:gd name="T43" fmla="*/ 52 h 102"/>
                  <a:gd name="T44" fmla="*/ 0 w 48"/>
                  <a:gd name="T45" fmla="*/ 40 h 102"/>
                  <a:gd name="T46" fmla="*/ 10 w 48"/>
                  <a:gd name="T47" fmla="*/ 28 h 102"/>
                  <a:gd name="T48" fmla="*/ 16 w 48"/>
                  <a:gd name="T49" fmla="*/ 12 h 102"/>
                  <a:gd name="T50" fmla="*/ 28 w 48"/>
                  <a:gd name="T51" fmla="*/ 2 h 102"/>
                  <a:gd name="T52" fmla="*/ 32 w 48"/>
                  <a:gd name="T53" fmla="*/ 8 h 102"/>
                  <a:gd name="T54" fmla="*/ 40 w 48"/>
                  <a:gd name="T55" fmla="*/ 2 h 102"/>
                  <a:gd name="T56" fmla="*/ 48 w 48"/>
                  <a:gd name="T57" fmla="*/ 0 h 102"/>
                  <a:gd name="T58" fmla="*/ 48 w 48"/>
                  <a:gd name="T59" fmla="*/ 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" h="102">
                    <a:moveTo>
                      <a:pt x="48" y="6"/>
                    </a:moveTo>
                    <a:lnTo>
                      <a:pt x="42" y="18"/>
                    </a:lnTo>
                    <a:lnTo>
                      <a:pt x="34" y="24"/>
                    </a:lnTo>
                    <a:lnTo>
                      <a:pt x="34" y="40"/>
                    </a:lnTo>
                    <a:lnTo>
                      <a:pt x="36" y="48"/>
                    </a:lnTo>
                    <a:lnTo>
                      <a:pt x="42" y="52"/>
                    </a:lnTo>
                    <a:lnTo>
                      <a:pt x="40" y="58"/>
                    </a:lnTo>
                    <a:lnTo>
                      <a:pt x="34" y="62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6"/>
                    </a:lnTo>
                    <a:lnTo>
                      <a:pt x="20" y="94"/>
                    </a:lnTo>
                    <a:lnTo>
                      <a:pt x="18" y="98"/>
                    </a:lnTo>
                    <a:lnTo>
                      <a:pt x="18" y="102"/>
                    </a:lnTo>
                    <a:lnTo>
                      <a:pt x="14" y="102"/>
                    </a:lnTo>
                    <a:lnTo>
                      <a:pt x="12" y="100"/>
                    </a:lnTo>
                    <a:lnTo>
                      <a:pt x="12" y="96"/>
                    </a:lnTo>
                    <a:lnTo>
                      <a:pt x="10" y="88"/>
                    </a:lnTo>
                    <a:lnTo>
                      <a:pt x="4" y="78"/>
                    </a:lnTo>
                    <a:lnTo>
                      <a:pt x="4" y="68"/>
                    </a:lnTo>
                    <a:lnTo>
                      <a:pt x="6" y="60"/>
                    </a:lnTo>
                    <a:lnTo>
                      <a:pt x="0" y="52"/>
                    </a:lnTo>
                    <a:lnTo>
                      <a:pt x="0" y="40"/>
                    </a:lnTo>
                    <a:lnTo>
                      <a:pt x="10" y="28"/>
                    </a:lnTo>
                    <a:lnTo>
                      <a:pt x="16" y="12"/>
                    </a:lnTo>
                    <a:lnTo>
                      <a:pt x="28" y="2"/>
                    </a:lnTo>
                    <a:lnTo>
                      <a:pt x="32" y="8"/>
                    </a:lnTo>
                    <a:lnTo>
                      <a:pt x="40" y="2"/>
                    </a:lnTo>
                    <a:lnTo>
                      <a:pt x="48" y="0"/>
                    </a:lnTo>
                    <a:lnTo>
                      <a:pt x="48" y="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2" name="Freeform 38"/>
              <p:cNvSpPr>
                <a:spLocks/>
              </p:cNvSpPr>
              <p:nvPr/>
            </p:nvSpPr>
            <p:spPr bwMode="gray">
              <a:xfrm>
                <a:off x="3748" y="1712"/>
                <a:ext cx="36" cy="123"/>
              </a:xfrm>
              <a:custGeom>
                <a:avLst/>
                <a:gdLst>
                  <a:gd name="T0" fmla="*/ 32 w 32"/>
                  <a:gd name="T1" fmla="*/ 4 h 112"/>
                  <a:gd name="T2" fmla="*/ 30 w 32"/>
                  <a:gd name="T3" fmla="*/ 18 h 112"/>
                  <a:gd name="T4" fmla="*/ 26 w 32"/>
                  <a:gd name="T5" fmla="*/ 30 h 112"/>
                  <a:gd name="T6" fmla="*/ 22 w 32"/>
                  <a:gd name="T7" fmla="*/ 48 h 112"/>
                  <a:gd name="T8" fmla="*/ 16 w 32"/>
                  <a:gd name="T9" fmla="*/ 64 h 112"/>
                  <a:gd name="T10" fmla="*/ 12 w 32"/>
                  <a:gd name="T11" fmla="*/ 90 h 112"/>
                  <a:gd name="T12" fmla="*/ 10 w 32"/>
                  <a:gd name="T13" fmla="*/ 104 h 112"/>
                  <a:gd name="T14" fmla="*/ 4 w 32"/>
                  <a:gd name="T15" fmla="*/ 112 h 112"/>
                  <a:gd name="T16" fmla="*/ 0 w 32"/>
                  <a:gd name="T17" fmla="*/ 96 h 112"/>
                  <a:gd name="T18" fmla="*/ 0 w 32"/>
                  <a:gd name="T19" fmla="*/ 78 h 112"/>
                  <a:gd name="T20" fmla="*/ 8 w 32"/>
                  <a:gd name="T21" fmla="*/ 58 h 112"/>
                  <a:gd name="T22" fmla="*/ 16 w 32"/>
                  <a:gd name="T23" fmla="*/ 40 h 112"/>
                  <a:gd name="T24" fmla="*/ 24 w 32"/>
                  <a:gd name="T25" fmla="*/ 26 h 112"/>
                  <a:gd name="T26" fmla="*/ 24 w 32"/>
                  <a:gd name="T27" fmla="*/ 8 h 112"/>
                  <a:gd name="T28" fmla="*/ 26 w 32"/>
                  <a:gd name="T29" fmla="*/ 0 h 112"/>
                  <a:gd name="T30" fmla="*/ 32 w 32"/>
                  <a:gd name="T31" fmla="*/ 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" h="112">
                    <a:moveTo>
                      <a:pt x="32" y="4"/>
                    </a:moveTo>
                    <a:lnTo>
                      <a:pt x="30" y="18"/>
                    </a:lnTo>
                    <a:lnTo>
                      <a:pt x="26" y="30"/>
                    </a:lnTo>
                    <a:lnTo>
                      <a:pt x="22" y="48"/>
                    </a:lnTo>
                    <a:lnTo>
                      <a:pt x="16" y="64"/>
                    </a:lnTo>
                    <a:lnTo>
                      <a:pt x="12" y="90"/>
                    </a:lnTo>
                    <a:lnTo>
                      <a:pt x="10" y="104"/>
                    </a:lnTo>
                    <a:lnTo>
                      <a:pt x="4" y="112"/>
                    </a:lnTo>
                    <a:lnTo>
                      <a:pt x="0" y="96"/>
                    </a:lnTo>
                    <a:lnTo>
                      <a:pt x="0" y="78"/>
                    </a:lnTo>
                    <a:lnTo>
                      <a:pt x="8" y="58"/>
                    </a:lnTo>
                    <a:lnTo>
                      <a:pt x="16" y="40"/>
                    </a:lnTo>
                    <a:lnTo>
                      <a:pt x="24" y="26"/>
                    </a:lnTo>
                    <a:lnTo>
                      <a:pt x="24" y="8"/>
                    </a:lnTo>
                    <a:lnTo>
                      <a:pt x="26" y="0"/>
                    </a:lnTo>
                    <a:lnTo>
                      <a:pt x="32" y="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94" name="Freeform 39"/>
            <p:cNvSpPr>
              <a:spLocks/>
            </p:cNvSpPr>
            <p:nvPr/>
          </p:nvSpPr>
          <p:spPr bwMode="gray">
            <a:xfrm>
              <a:off x="3140848" y="4684712"/>
              <a:ext cx="479020" cy="343821"/>
            </a:xfrm>
            <a:custGeom>
              <a:avLst/>
              <a:gdLst>
                <a:gd name="T0" fmla="*/ 22 w 438"/>
                <a:gd name="T1" fmla="*/ 196 h 330"/>
                <a:gd name="T2" fmla="*/ 38 w 438"/>
                <a:gd name="T3" fmla="*/ 184 h 330"/>
                <a:gd name="T4" fmla="*/ 50 w 438"/>
                <a:gd name="T5" fmla="*/ 166 h 330"/>
                <a:gd name="T6" fmla="*/ 44 w 438"/>
                <a:gd name="T7" fmla="*/ 144 h 330"/>
                <a:gd name="T8" fmla="*/ 16 w 438"/>
                <a:gd name="T9" fmla="*/ 126 h 330"/>
                <a:gd name="T10" fmla="*/ 0 w 438"/>
                <a:gd name="T11" fmla="*/ 100 h 330"/>
                <a:gd name="T12" fmla="*/ 10 w 438"/>
                <a:gd name="T13" fmla="*/ 70 h 330"/>
                <a:gd name="T14" fmla="*/ 28 w 438"/>
                <a:gd name="T15" fmla="*/ 64 h 330"/>
                <a:gd name="T16" fmla="*/ 42 w 438"/>
                <a:gd name="T17" fmla="*/ 70 h 330"/>
                <a:gd name="T18" fmla="*/ 34 w 438"/>
                <a:gd name="T19" fmla="*/ 90 h 330"/>
                <a:gd name="T20" fmla="*/ 66 w 438"/>
                <a:gd name="T21" fmla="*/ 82 h 330"/>
                <a:gd name="T22" fmla="*/ 128 w 438"/>
                <a:gd name="T23" fmla="*/ 90 h 330"/>
                <a:gd name="T24" fmla="*/ 178 w 438"/>
                <a:gd name="T25" fmla="*/ 78 h 330"/>
                <a:gd name="T26" fmla="*/ 212 w 438"/>
                <a:gd name="T27" fmla="*/ 76 h 330"/>
                <a:gd name="T28" fmla="*/ 252 w 438"/>
                <a:gd name="T29" fmla="*/ 40 h 330"/>
                <a:gd name="T30" fmla="*/ 288 w 438"/>
                <a:gd name="T31" fmla="*/ 18 h 330"/>
                <a:gd name="T32" fmla="*/ 336 w 438"/>
                <a:gd name="T33" fmla="*/ 0 h 330"/>
                <a:gd name="T34" fmla="*/ 360 w 438"/>
                <a:gd name="T35" fmla="*/ 0 h 330"/>
                <a:gd name="T36" fmla="*/ 382 w 438"/>
                <a:gd name="T37" fmla="*/ 0 h 330"/>
                <a:gd name="T38" fmla="*/ 430 w 438"/>
                <a:gd name="T39" fmla="*/ 16 h 330"/>
                <a:gd name="T40" fmla="*/ 436 w 438"/>
                <a:gd name="T41" fmla="*/ 28 h 330"/>
                <a:gd name="T42" fmla="*/ 434 w 438"/>
                <a:gd name="T43" fmla="*/ 46 h 330"/>
                <a:gd name="T44" fmla="*/ 418 w 438"/>
                <a:gd name="T45" fmla="*/ 50 h 330"/>
                <a:gd name="T46" fmla="*/ 406 w 438"/>
                <a:gd name="T47" fmla="*/ 60 h 330"/>
                <a:gd name="T48" fmla="*/ 400 w 438"/>
                <a:gd name="T49" fmla="*/ 80 h 330"/>
                <a:gd name="T50" fmla="*/ 402 w 438"/>
                <a:gd name="T51" fmla="*/ 102 h 330"/>
                <a:gd name="T52" fmla="*/ 408 w 438"/>
                <a:gd name="T53" fmla="*/ 120 h 330"/>
                <a:gd name="T54" fmla="*/ 398 w 438"/>
                <a:gd name="T55" fmla="*/ 128 h 330"/>
                <a:gd name="T56" fmla="*/ 394 w 438"/>
                <a:gd name="T57" fmla="*/ 140 h 330"/>
                <a:gd name="T58" fmla="*/ 384 w 438"/>
                <a:gd name="T59" fmla="*/ 150 h 330"/>
                <a:gd name="T60" fmla="*/ 396 w 438"/>
                <a:gd name="T61" fmla="*/ 154 h 330"/>
                <a:gd name="T62" fmla="*/ 414 w 438"/>
                <a:gd name="T63" fmla="*/ 172 h 330"/>
                <a:gd name="T64" fmla="*/ 434 w 438"/>
                <a:gd name="T65" fmla="*/ 188 h 330"/>
                <a:gd name="T66" fmla="*/ 422 w 438"/>
                <a:gd name="T67" fmla="*/ 198 h 330"/>
                <a:gd name="T68" fmla="*/ 406 w 438"/>
                <a:gd name="T69" fmla="*/ 202 h 330"/>
                <a:gd name="T70" fmla="*/ 380 w 438"/>
                <a:gd name="T71" fmla="*/ 190 h 330"/>
                <a:gd name="T72" fmla="*/ 364 w 438"/>
                <a:gd name="T73" fmla="*/ 196 h 330"/>
                <a:gd name="T74" fmla="*/ 344 w 438"/>
                <a:gd name="T75" fmla="*/ 214 h 330"/>
                <a:gd name="T76" fmla="*/ 334 w 438"/>
                <a:gd name="T77" fmla="*/ 220 h 330"/>
                <a:gd name="T78" fmla="*/ 332 w 438"/>
                <a:gd name="T79" fmla="*/ 230 h 330"/>
                <a:gd name="T80" fmla="*/ 320 w 438"/>
                <a:gd name="T81" fmla="*/ 238 h 330"/>
                <a:gd name="T82" fmla="*/ 308 w 438"/>
                <a:gd name="T83" fmla="*/ 244 h 330"/>
                <a:gd name="T84" fmla="*/ 314 w 438"/>
                <a:gd name="T85" fmla="*/ 262 h 330"/>
                <a:gd name="T86" fmla="*/ 302 w 438"/>
                <a:gd name="T87" fmla="*/ 290 h 330"/>
                <a:gd name="T88" fmla="*/ 254 w 438"/>
                <a:gd name="T89" fmla="*/ 308 h 330"/>
                <a:gd name="T90" fmla="*/ 218 w 438"/>
                <a:gd name="T91" fmla="*/ 298 h 330"/>
                <a:gd name="T92" fmla="*/ 192 w 438"/>
                <a:gd name="T93" fmla="*/ 286 h 330"/>
                <a:gd name="T94" fmla="*/ 170 w 438"/>
                <a:gd name="T95" fmla="*/ 292 h 330"/>
                <a:gd name="T96" fmla="*/ 132 w 438"/>
                <a:gd name="T97" fmla="*/ 318 h 330"/>
                <a:gd name="T98" fmla="*/ 100 w 438"/>
                <a:gd name="T99" fmla="*/ 330 h 330"/>
                <a:gd name="T100" fmla="*/ 80 w 438"/>
                <a:gd name="T101" fmla="*/ 312 h 330"/>
                <a:gd name="T102" fmla="*/ 80 w 438"/>
                <a:gd name="T103" fmla="*/ 296 h 330"/>
                <a:gd name="T104" fmla="*/ 62 w 438"/>
                <a:gd name="T105" fmla="*/ 268 h 330"/>
                <a:gd name="T106" fmla="*/ 38 w 438"/>
                <a:gd name="T107" fmla="*/ 258 h 330"/>
                <a:gd name="T108" fmla="*/ 30 w 438"/>
                <a:gd name="T109" fmla="*/ 238 h 330"/>
                <a:gd name="T110" fmla="*/ 26 w 438"/>
                <a:gd name="T111" fmla="*/ 220 h 330"/>
                <a:gd name="T112" fmla="*/ 24 w 438"/>
                <a:gd name="T113" fmla="*/ 212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8" h="330">
                  <a:moveTo>
                    <a:pt x="24" y="212"/>
                  </a:moveTo>
                  <a:lnTo>
                    <a:pt x="22" y="196"/>
                  </a:lnTo>
                  <a:lnTo>
                    <a:pt x="28" y="186"/>
                  </a:lnTo>
                  <a:lnTo>
                    <a:pt x="38" y="184"/>
                  </a:lnTo>
                  <a:lnTo>
                    <a:pt x="40" y="174"/>
                  </a:lnTo>
                  <a:lnTo>
                    <a:pt x="50" y="166"/>
                  </a:lnTo>
                  <a:lnTo>
                    <a:pt x="54" y="152"/>
                  </a:lnTo>
                  <a:lnTo>
                    <a:pt x="44" y="144"/>
                  </a:lnTo>
                  <a:lnTo>
                    <a:pt x="30" y="136"/>
                  </a:lnTo>
                  <a:lnTo>
                    <a:pt x="16" y="126"/>
                  </a:lnTo>
                  <a:lnTo>
                    <a:pt x="8" y="112"/>
                  </a:lnTo>
                  <a:lnTo>
                    <a:pt x="0" y="100"/>
                  </a:lnTo>
                  <a:lnTo>
                    <a:pt x="0" y="80"/>
                  </a:lnTo>
                  <a:lnTo>
                    <a:pt x="10" y="70"/>
                  </a:lnTo>
                  <a:lnTo>
                    <a:pt x="14" y="52"/>
                  </a:lnTo>
                  <a:lnTo>
                    <a:pt x="28" y="64"/>
                  </a:lnTo>
                  <a:lnTo>
                    <a:pt x="40" y="62"/>
                  </a:lnTo>
                  <a:lnTo>
                    <a:pt x="42" y="70"/>
                  </a:lnTo>
                  <a:lnTo>
                    <a:pt x="30" y="82"/>
                  </a:lnTo>
                  <a:lnTo>
                    <a:pt x="34" y="90"/>
                  </a:lnTo>
                  <a:lnTo>
                    <a:pt x="44" y="92"/>
                  </a:lnTo>
                  <a:lnTo>
                    <a:pt x="66" y="82"/>
                  </a:lnTo>
                  <a:lnTo>
                    <a:pt x="106" y="84"/>
                  </a:lnTo>
                  <a:lnTo>
                    <a:pt x="128" y="90"/>
                  </a:lnTo>
                  <a:lnTo>
                    <a:pt x="152" y="76"/>
                  </a:lnTo>
                  <a:lnTo>
                    <a:pt x="178" y="78"/>
                  </a:lnTo>
                  <a:lnTo>
                    <a:pt x="202" y="72"/>
                  </a:lnTo>
                  <a:lnTo>
                    <a:pt x="212" y="76"/>
                  </a:lnTo>
                  <a:lnTo>
                    <a:pt x="234" y="66"/>
                  </a:lnTo>
                  <a:lnTo>
                    <a:pt x="252" y="40"/>
                  </a:lnTo>
                  <a:lnTo>
                    <a:pt x="266" y="24"/>
                  </a:lnTo>
                  <a:lnTo>
                    <a:pt x="288" y="18"/>
                  </a:lnTo>
                  <a:lnTo>
                    <a:pt x="314" y="2"/>
                  </a:lnTo>
                  <a:lnTo>
                    <a:pt x="336" y="0"/>
                  </a:lnTo>
                  <a:lnTo>
                    <a:pt x="346" y="6"/>
                  </a:lnTo>
                  <a:lnTo>
                    <a:pt x="360" y="0"/>
                  </a:lnTo>
                  <a:lnTo>
                    <a:pt x="368" y="6"/>
                  </a:lnTo>
                  <a:lnTo>
                    <a:pt x="382" y="0"/>
                  </a:lnTo>
                  <a:lnTo>
                    <a:pt x="394" y="14"/>
                  </a:lnTo>
                  <a:lnTo>
                    <a:pt x="430" y="16"/>
                  </a:lnTo>
                  <a:lnTo>
                    <a:pt x="432" y="22"/>
                  </a:lnTo>
                  <a:lnTo>
                    <a:pt x="436" y="28"/>
                  </a:lnTo>
                  <a:lnTo>
                    <a:pt x="438" y="38"/>
                  </a:lnTo>
                  <a:lnTo>
                    <a:pt x="434" y="46"/>
                  </a:lnTo>
                  <a:lnTo>
                    <a:pt x="426" y="50"/>
                  </a:lnTo>
                  <a:lnTo>
                    <a:pt x="418" y="50"/>
                  </a:lnTo>
                  <a:lnTo>
                    <a:pt x="412" y="52"/>
                  </a:lnTo>
                  <a:lnTo>
                    <a:pt x="406" y="60"/>
                  </a:lnTo>
                  <a:lnTo>
                    <a:pt x="402" y="68"/>
                  </a:lnTo>
                  <a:lnTo>
                    <a:pt x="400" y="80"/>
                  </a:lnTo>
                  <a:lnTo>
                    <a:pt x="402" y="90"/>
                  </a:lnTo>
                  <a:lnTo>
                    <a:pt x="402" y="102"/>
                  </a:lnTo>
                  <a:lnTo>
                    <a:pt x="406" y="116"/>
                  </a:lnTo>
                  <a:lnTo>
                    <a:pt x="408" y="120"/>
                  </a:lnTo>
                  <a:lnTo>
                    <a:pt x="408" y="124"/>
                  </a:lnTo>
                  <a:lnTo>
                    <a:pt x="398" y="128"/>
                  </a:lnTo>
                  <a:lnTo>
                    <a:pt x="392" y="134"/>
                  </a:lnTo>
                  <a:lnTo>
                    <a:pt x="394" y="140"/>
                  </a:lnTo>
                  <a:lnTo>
                    <a:pt x="386" y="146"/>
                  </a:lnTo>
                  <a:lnTo>
                    <a:pt x="384" y="150"/>
                  </a:lnTo>
                  <a:lnTo>
                    <a:pt x="388" y="154"/>
                  </a:lnTo>
                  <a:lnTo>
                    <a:pt x="396" y="154"/>
                  </a:lnTo>
                  <a:lnTo>
                    <a:pt x="406" y="162"/>
                  </a:lnTo>
                  <a:lnTo>
                    <a:pt x="414" y="172"/>
                  </a:lnTo>
                  <a:lnTo>
                    <a:pt x="424" y="180"/>
                  </a:lnTo>
                  <a:lnTo>
                    <a:pt x="434" y="188"/>
                  </a:lnTo>
                  <a:lnTo>
                    <a:pt x="422" y="190"/>
                  </a:lnTo>
                  <a:lnTo>
                    <a:pt x="422" y="198"/>
                  </a:lnTo>
                  <a:lnTo>
                    <a:pt x="408" y="198"/>
                  </a:lnTo>
                  <a:lnTo>
                    <a:pt x="406" y="202"/>
                  </a:lnTo>
                  <a:lnTo>
                    <a:pt x="396" y="202"/>
                  </a:lnTo>
                  <a:lnTo>
                    <a:pt x="380" y="190"/>
                  </a:lnTo>
                  <a:lnTo>
                    <a:pt x="378" y="196"/>
                  </a:lnTo>
                  <a:lnTo>
                    <a:pt x="364" y="196"/>
                  </a:lnTo>
                  <a:lnTo>
                    <a:pt x="360" y="206"/>
                  </a:lnTo>
                  <a:lnTo>
                    <a:pt x="344" y="214"/>
                  </a:lnTo>
                  <a:lnTo>
                    <a:pt x="338" y="216"/>
                  </a:lnTo>
                  <a:lnTo>
                    <a:pt x="334" y="220"/>
                  </a:lnTo>
                  <a:lnTo>
                    <a:pt x="334" y="228"/>
                  </a:lnTo>
                  <a:lnTo>
                    <a:pt x="332" y="230"/>
                  </a:lnTo>
                  <a:lnTo>
                    <a:pt x="324" y="234"/>
                  </a:lnTo>
                  <a:lnTo>
                    <a:pt x="320" y="238"/>
                  </a:lnTo>
                  <a:lnTo>
                    <a:pt x="320" y="246"/>
                  </a:lnTo>
                  <a:lnTo>
                    <a:pt x="308" y="244"/>
                  </a:lnTo>
                  <a:lnTo>
                    <a:pt x="302" y="250"/>
                  </a:lnTo>
                  <a:lnTo>
                    <a:pt x="314" y="262"/>
                  </a:lnTo>
                  <a:lnTo>
                    <a:pt x="318" y="278"/>
                  </a:lnTo>
                  <a:lnTo>
                    <a:pt x="302" y="290"/>
                  </a:lnTo>
                  <a:lnTo>
                    <a:pt x="278" y="294"/>
                  </a:lnTo>
                  <a:lnTo>
                    <a:pt x="254" y="308"/>
                  </a:lnTo>
                  <a:lnTo>
                    <a:pt x="238" y="298"/>
                  </a:lnTo>
                  <a:lnTo>
                    <a:pt x="218" y="298"/>
                  </a:lnTo>
                  <a:lnTo>
                    <a:pt x="218" y="306"/>
                  </a:lnTo>
                  <a:lnTo>
                    <a:pt x="192" y="286"/>
                  </a:lnTo>
                  <a:lnTo>
                    <a:pt x="186" y="294"/>
                  </a:lnTo>
                  <a:lnTo>
                    <a:pt x="170" y="292"/>
                  </a:lnTo>
                  <a:lnTo>
                    <a:pt x="158" y="304"/>
                  </a:lnTo>
                  <a:lnTo>
                    <a:pt x="132" y="318"/>
                  </a:lnTo>
                  <a:lnTo>
                    <a:pt x="108" y="322"/>
                  </a:lnTo>
                  <a:lnTo>
                    <a:pt x="100" y="330"/>
                  </a:lnTo>
                  <a:lnTo>
                    <a:pt x="82" y="330"/>
                  </a:lnTo>
                  <a:lnTo>
                    <a:pt x="80" y="312"/>
                  </a:lnTo>
                  <a:lnTo>
                    <a:pt x="80" y="300"/>
                  </a:lnTo>
                  <a:lnTo>
                    <a:pt x="80" y="296"/>
                  </a:lnTo>
                  <a:lnTo>
                    <a:pt x="74" y="282"/>
                  </a:lnTo>
                  <a:lnTo>
                    <a:pt x="62" y="268"/>
                  </a:lnTo>
                  <a:lnTo>
                    <a:pt x="54" y="264"/>
                  </a:lnTo>
                  <a:lnTo>
                    <a:pt x="38" y="258"/>
                  </a:lnTo>
                  <a:lnTo>
                    <a:pt x="24" y="246"/>
                  </a:lnTo>
                  <a:lnTo>
                    <a:pt x="30" y="238"/>
                  </a:lnTo>
                  <a:lnTo>
                    <a:pt x="32" y="224"/>
                  </a:lnTo>
                  <a:lnTo>
                    <a:pt x="26" y="220"/>
                  </a:lnTo>
                  <a:lnTo>
                    <a:pt x="26" y="212"/>
                  </a:lnTo>
                  <a:lnTo>
                    <a:pt x="24" y="21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5" name="Freeform 40"/>
            <p:cNvSpPr>
              <a:spLocks/>
            </p:cNvSpPr>
            <p:nvPr/>
          </p:nvSpPr>
          <p:spPr bwMode="gray">
            <a:xfrm>
              <a:off x="2941559" y="4287378"/>
              <a:ext cx="718530" cy="493657"/>
            </a:xfrm>
            <a:custGeom>
              <a:avLst/>
              <a:gdLst>
                <a:gd name="T0" fmla="*/ 30 w 656"/>
                <a:gd name="T1" fmla="*/ 276 h 474"/>
                <a:gd name="T2" fmla="*/ 54 w 656"/>
                <a:gd name="T3" fmla="*/ 260 h 474"/>
                <a:gd name="T4" fmla="*/ 64 w 656"/>
                <a:gd name="T5" fmla="*/ 222 h 474"/>
                <a:gd name="T6" fmla="*/ 76 w 656"/>
                <a:gd name="T7" fmla="*/ 200 h 474"/>
                <a:gd name="T8" fmla="*/ 100 w 656"/>
                <a:gd name="T9" fmla="*/ 142 h 474"/>
                <a:gd name="T10" fmla="*/ 108 w 656"/>
                <a:gd name="T11" fmla="*/ 118 h 474"/>
                <a:gd name="T12" fmla="*/ 122 w 656"/>
                <a:gd name="T13" fmla="*/ 98 h 474"/>
                <a:gd name="T14" fmla="*/ 148 w 656"/>
                <a:gd name="T15" fmla="*/ 74 h 474"/>
                <a:gd name="T16" fmla="*/ 160 w 656"/>
                <a:gd name="T17" fmla="*/ 60 h 474"/>
                <a:gd name="T18" fmla="*/ 176 w 656"/>
                <a:gd name="T19" fmla="*/ 66 h 474"/>
                <a:gd name="T20" fmla="*/ 240 w 656"/>
                <a:gd name="T21" fmla="*/ 56 h 474"/>
                <a:gd name="T22" fmla="*/ 280 w 656"/>
                <a:gd name="T23" fmla="*/ 76 h 474"/>
                <a:gd name="T24" fmla="*/ 298 w 656"/>
                <a:gd name="T25" fmla="*/ 52 h 474"/>
                <a:gd name="T26" fmla="*/ 362 w 656"/>
                <a:gd name="T27" fmla="*/ 10 h 474"/>
                <a:gd name="T28" fmla="*/ 404 w 656"/>
                <a:gd name="T29" fmla="*/ 2 h 474"/>
                <a:gd name="T30" fmla="*/ 434 w 656"/>
                <a:gd name="T31" fmla="*/ 44 h 474"/>
                <a:gd name="T32" fmla="*/ 460 w 656"/>
                <a:gd name="T33" fmla="*/ 72 h 474"/>
                <a:gd name="T34" fmla="*/ 482 w 656"/>
                <a:gd name="T35" fmla="*/ 90 h 474"/>
                <a:gd name="T36" fmla="*/ 530 w 656"/>
                <a:gd name="T37" fmla="*/ 144 h 474"/>
                <a:gd name="T38" fmla="*/ 524 w 656"/>
                <a:gd name="T39" fmla="*/ 174 h 474"/>
                <a:gd name="T40" fmla="*/ 536 w 656"/>
                <a:gd name="T41" fmla="*/ 220 h 474"/>
                <a:gd name="T42" fmla="*/ 546 w 656"/>
                <a:gd name="T43" fmla="*/ 236 h 474"/>
                <a:gd name="T44" fmla="*/ 586 w 656"/>
                <a:gd name="T45" fmla="*/ 250 h 474"/>
                <a:gd name="T46" fmla="*/ 620 w 656"/>
                <a:gd name="T47" fmla="*/ 220 h 474"/>
                <a:gd name="T48" fmla="*/ 648 w 656"/>
                <a:gd name="T49" fmla="*/ 234 h 474"/>
                <a:gd name="T50" fmla="*/ 630 w 656"/>
                <a:gd name="T51" fmla="*/ 286 h 474"/>
                <a:gd name="T52" fmla="*/ 616 w 656"/>
                <a:gd name="T53" fmla="*/ 268 h 474"/>
                <a:gd name="T54" fmla="*/ 612 w 656"/>
                <a:gd name="T55" fmla="*/ 288 h 474"/>
                <a:gd name="T56" fmla="*/ 608 w 656"/>
                <a:gd name="T57" fmla="*/ 304 h 474"/>
                <a:gd name="T58" fmla="*/ 614 w 656"/>
                <a:gd name="T59" fmla="*/ 312 h 474"/>
                <a:gd name="T60" fmla="*/ 604 w 656"/>
                <a:gd name="T61" fmla="*/ 340 h 474"/>
                <a:gd name="T62" fmla="*/ 614 w 656"/>
                <a:gd name="T63" fmla="*/ 378 h 474"/>
                <a:gd name="T64" fmla="*/ 576 w 656"/>
                <a:gd name="T65" fmla="*/ 396 h 474"/>
                <a:gd name="T66" fmla="*/ 550 w 656"/>
                <a:gd name="T67" fmla="*/ 388 h 474"/>
                <a:gd name="T68" fmla="*/ 528 w 656"/>
                <a:gd name="T69" fmla="*/ 388 h 474"/>
                <a:gd name="T70" fmla="*/ 496 w 656"/>
                <a:gd name="T71" fmla="*/ 384 h 474"/>
                <a:gd name="T72" fmla="*/ 448 w 656"/>
                <a:gd name="T73" fmla="*/ 406 h 474"/>
                <a:gd name="T74" fmla="*/ 416 w 656"/>
                <a:gd name="T75" fmla="*/ 448 h 474"/>
                <a:gd name="T76" fmla="*/ 384 w 656"/>
                <a:gd name="T77" fmla="*/ 454 h 474"/>
                <a:gd name="T78" fmla="*/ 334 w 656"/>
                <a:gd name="T79" fmla="*/ 458 h 474"/>
                <a:gd name="T80" fmla="*/ 288 w 656"/>
                <a:gd name="T81" fmla="*/ 466 h 474"/>
                <a:gd name="T82" fmla="*/ 226 w 656"/>
                <a:gd name="T83" fmla="*/ 474 h 474"/>
                <a:gd name="T84" fmla="*/ 212 w 656"/>
                <a:gd name="T85" fmla="*/ 464 h 474"/>
                <a:gd name="T86" fmla="*/ 222 w 656"/>
                <a:gd name="T87" fmla="*/ 444 h 474"/>
                <a:gd name="T88" fmla="*/ 198 w 656"/>
                <a:gd name="T89" fmla="*/ 436 h 474"/>
                <a:gd name="T90" fmla="*/ 184 w 656"/>
                <a:gd name="T91" fmla="*/ 428 h 474"/>
                <a:gd name="T92" fmla="*/ 184 w 656"/>
                <a:gd name="T93" fmla="*/ 410 h 474"/>
                <a:gd name="T94" fmla="*/ 198 w 656"/>
                <a:gd name="T95" fmla="*/ 404 h 474"/>
                <a:gd name="T96" fmla="*/ 172 w 656"/>
                <a:gd name="T97" fmla="*/ 394 h 474"/>
                <a:gd name="T98" fmla="*/ 158 w 656"/>
                <a:gd name="T99" fmla="*/ 408 h 474"/>
                <a:gd name="T100" fmla="*/ 150 w 656"/>
                <a:gd name="T101" fmla="*/ 418 h 474"/>
                <a:gd name="T102" fmla="*/ 118 w 656"/>
                <a:gd name="T103" fmla="*/ 406 h 474"/>
                <a:gd name="T104" fmla="*/ 100 w 656"/>
                <a:gd name="T105" fmla="*/ 400 h 474"/>
                <a:gd name="T106" fmla="*/ 102 w 656"/>
                <a:gd name="T107" fmla="*/ 390 h 474"/>
                <a:gd name="T108" fmla="*/ 96 w 656"/>
                <a:gd name="T109" fmla="*/ 378 h 474"/>
                <a:gd name="T110" fmla="*/ 100 w 656"/>
                <a:gd name="T111" fmla="*/ 364 h 474"/>
                <a:gd name="T112" fmla="*/ 82 w 656"/>
                <a:gd name="T113" fmla="*/ 358 h 474"/>
                <a:gd name="T114" fmla="*/ 62 w 656"/>
                <a:gd name="T115" fmla="*/ 350 h 474"/>
                <a:gd name="T116" fmla="*/ 44 w 656"/>
                <a:gd name="T117" fmla="*/ 330 h 474"/>
                <a:gd name="T118" fmla="*/ 34 w 656"/>
                <a:gd name="T119" fmla="*/ 312 h 474"/>
                <a:gd name="T120" fmla="*/ 10 w 656"/>
                <a:gd name="T121" fmla="*/ 29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56" h="474">
                  <a:moveTo>
                    <a:pt x="0" y="280"/>
                  </a:moveTo>
                  <a:lnTo>
                    <a:pt x="30" y="276"/>
                  </a:lnTo>
                  <a:lnTo>
                    <a:pt x="34" y="262"/>
                  </a:lnTo>
                  <a:lnTo>
                    <a:pt x="54" y="260"/>
                  </a:lnTo>
                  <a:lnTo>
                    <a:pt x="66" y="240"/>
                  </a:lnTo>
                  <a:lnTo>
                    <a:pt x="64" y="222"/>
                  </a:lnTo>
                  <a:lnTo>
                    <a:pt x="76" y="218"/>
                  </a:lnTo>
                  <a:lnTo>
                    <a:pt x="76" y="200"/>
                  </a:lnTo>
                  <a:lnTo>
                    <a:pt x="94" y="150"/>
                  </a:lnTo>
                  <a:lnTo>
                    <a:pt x="100" y="142"/>
                  </a:lnTo>
                  <a:lnTo>
                    <a:pt x="96" y="128"/>
                  </a:lnTo>
                  <a:lnTo>
                    <a:pt x="108" y="118"/>
                  </a:lnTo>
                  <a:lnTo>
                    <a:pt x="108" y="108"/>
                  </a:lnTo>
                  <a:lnTo>
                    <a:pt x="122" y="98"/>
                  </a:lnTo>
                  <a:lnTo>
                    <a:pt x="132" y="98"/>
                  </a:lnTo>
                  <a:lnTo>
                    <a:pt x="148" y="74"/>
                  </a:lnTo>
                  <a:lnTo>
                    <a:pt x="158" y="70"/>
                  </a:lnTo>
                  <a:lnTo>
                    <a:pt x="160" y="60"/>
                  </a:lnTo>
                  <a:lnTo>
                    <a:pt x="168" y="60"/>
                  </a:lnTo>
                  <a:lnTo>
                    <a:pt x="176" y="66"/>
                  </a:lnTo>
                  <a:lnTo>
                    <a:pt x="238" y="66"/>
                  </a:lnTo>
                  <a:lnTo>
                    <a:pt x="240" y="56"/>
                  </a:lnTo>
                  <a:lnTo>
                    <a:pt x="258" y="56"/>
                  </a:lnTo>
                  <a:lnTo>
                    <a:pt x="280" y="76"/>
                  </a:lnTo>
                  <a:lnTo>
                    <a:pt x="290" y="74"/>
                  </a:lnTo>
                  <a:lnTo>
                    <a:pt x="298" y="52"/>
                  </a:lnTo>
                  <a:lnTo>
                    <a:pt x="354" y="32"/>
                  </a:lnTo>
                  <a:lnTo>
                    <a:pt x="362" y="10"/>
                  </a:lnTo>
                  <a:lnTo>
                    <a:pt x="378" y="0"/>
                  </a:lnTo>
                  <a:lnTo>
                    <a:pt x="404" y="2"/>
                  </a:lnTo>
                  <a:lnTo>
                    <a:pt x="426" y="28"/>
                  </a:lnTo>
                  <a:lnTo>
                    <a:pt x="434" y="44"/>
                  </a:lnTo>
                  <a:lnTo>
                    <a:pt x="456" y="60"/>
                  </a:lnTo>
                  <a:lnTo>
                    <a:pt x="460" y="72"/>
                  </a:lnTo>
                  <a:lnTo>
                    <a:pt x="478" y="78"/>
                  </a:lnTo>
                  <a:lnTo>
                    <a:pt x="482" y="90"/>
                  </a:lnTo>
                  <a:lnTo>
                    <a:pt x="502" y="100"/>
                  </a:lnTo>
                  <a:lnTo>
                    <a:pt x="530" y="144"/>
                  </a:lnTo>
                  <a:lnTo>
                    <a:pt x="524" y="160"/>
                  </a:lnTo>
                  <a:lnTo>
                    <a:pt x="524" y="174"/>
                  </a:lnTo>
                  <a:lnTo>
                    <a:pt x="524" y="188"/>
                  </a:lnTo>
                  <a:lnTo>
                    <a:pt x="536" y="220"/>
                  </a:lnTo>
                  <a:lnTo>
                    <a:pt x="538" y="232"/>
                  </a:lnTo>
                  <a:lnTo>
                    <a:pt x="546" y="236"/>
                  </a:lnTo>
                  <a:lnTo>
                    <a:pt x="568" y="250"/>
                  </a:lnTo>
                  <a:lnTo>
                    <a:pt x="586" y="250"/>
                  </a:lnTo>
                  <a:lnTo>
                    <a:pt x="608" y="232"/>
                  </a:lnTo>
                  <a:lnTo>
                    <a:pt x="620" y="220"/>
                  </a:lnTo>
                  <a:lnTo>
                    <a:pt x="636" y="220"/>
                  </a:lnTo>
                  <a:lnTo>
                    <a:pt x="648" y="234"/>
                  </a:lnTo>
                  <a:lnTo>
                    <a:pt x="656" y="274"/>
                  </a:lnTo>
                  <a:lnTo>
                    <a:pt x="630" y="286"/>
                  </a:lnTo>
                  <a:lnTo>
                    <a:pt x="618" y="280"/>
                  </a:lnTo>
                  <a:lnTo>
                    <a:pt x="616" y="268"/>
                  </a:lnTo>
                  <a:lnTo>
                    <a:pt x="604" y="274"/>
                  </a:lnTo>
                  <a:lnTo>
                    <a:pt x="612" y="288"/>
                  </a:lnTo>
                  <a:lnTo>
                    <a:pt x="604" y="298"/>
                  </a:lnTo>
                  <a:lnTo>
                    <a:pt x="608" y="304"/>
                  </a:lnTo>
                  <a:lnTo>
                    <a:pt x="602" y="316"/>
                  </a:lnTo>
                  <a:lnTo>
                    <a:pt x="614" y="312"/>
                  </a:lnTo>
                  <a:lnTo>
                    <a:pt x="614" y="318"/>
                  </a:lnTo>
                  <a:lnTo>
                    <a:pt x="604" y="340"/>
                  </a:lnTo>
                  <a:lnTo>
                    <a:pt x="608" y="362"/>
                  </a:lnTo>
                  <a:lnTo>
                    <a:pt x="614" y="378"/>
                  </a:lnTo>
                  <a:lnTo>
                    <a:pt x="612" y="398"/>
                  </a:lnTo>
                  <a:lnTo>
                    <a:pt x="576" y="396"/>
                  </a:lnTo>
                  <a:lnTo>
                    <a:pt x="564" y="382"/>
                  </a:lnTo>
                  <a:lnTo>
                    <a:pt x="550" y="388"/>
                  </a:lnTo>
                  <a:lnTo>
                    <a:pt x="542" y="382"/>
                  </a:lnTo>
                  <a:lnTo>
                    <a:pt x="528" y="388"/>
                  </a:lnTo>
                  <a:lnTo>
                    <a:pt x="518" y="382"/>
                  </a:lnTo>
                  <a:lnTo>
                    <a:pt x="496" y="384"/>
                  </a:lnTo>
                  <a:lnTo>
                    <a:pt x="470" y="400"/>
                  </a:lnTo>
                  <a:lnTo>
                    <a:pt x="448" y="406"/>
                  </a:lnTo>
                  <a:lnTo>
                    <a:pt x="434" y="422"/>
                  </a:lnTo>
                  <a:lnTo>
                    <a:pt x="416" y="448"/>
                  </a:lnTo>
                  <a:lnTo>
                    <a:pt x="394" y="458"/>
                  </a:lnTo>
                  <a:lnTo>
                    <a:pt x="384" y="454"/>
                  </a:lnTo>
                  <a:lnTo>
                    <a:pt x="360" y="460"/>
                  </a:lnTo>
                  <a:lnTo>
                    <a:pt x="334" y="458"/>
                  </a:lnTo>
                  <a:lnTo>
                    <a:pt x="310" y="472"/>
                  </a:lnTo>
                  <a:lnTo>
                    <a:pt x="288" y="466"/>
                  </a:lnTo>
                  <a:lnTo>
                    <a:pt x="248" y="464"/>
                  </a:lnTo>
                  <a:lnTo>
                    <a:pt x="226" y="474"/>
                  </a:lnTo>
                  <a:lnTo>
                    <a:pt x="216" y="472"/>
                  </a:lnTo>
                  <a:lnTo>
                    <a:pt x="212" y="464"/>
                  </a:lnTo>
                  <a:lnTo>
                    <a:pt x="224" y="452"/>
                  </a:lnTo>
                  <a:lnTo>
                    <a:pt x="222" y="444"/>
                  </a:lnTo>
                  <a:lnTo>
                    <a:pt x="210" y="446"/>
                  </a:lnTo>
                  <a:lnTo>
                    <a:pt x="198" y="436"/>
                  </a:lnTo>
                  <a:lnTo>
                    <a:pt x="196" y="434"/>
                  </a:lnTo>
                  <a:lnTo>
                    <a:pt x="184" y="428"/>
                  </a:lnTo>
                  <a:lnTo>
                    <a:pt x="178" y="418"/>
                  </a:lnTo>
                  <a:lnTo>
                    <a:pt x="184" y="410"/>
                  </a:lnTo>
                  <a:lnTo>
                    <a:pt x="196" y="410"/>
                  </a:lnTo>
                  <a:lnTo>
                    <a:pt x="198" y="404"/>
                  </a:lnTo>
                  <a:lnTo>
                    <a:pt x="182" y="396"/>
                  </a:lnTo>
                  <a:lnTo>
                    <a:pt x="172" y="394"/>
                  </a:lnTo>
                  <a:lnTo>
                    <a:pt x="164" y="398"/>
                  </a:lnTo>
                  <a:lnTo>
                    <a:pt x="158" y="408"/>
                  </a:lnTo>
                  <a:lnTo>
                    <a:pt x="156" y="418"/>
                  </a:lnTo>
                  <a:lnTo>
                    <a:pt x="150" y="418"/>
                  </a:lnTo>
                  <a:lnTo>
                    <a:pt x="142" y="406"/>
                  </a:lnTo>
                  <a:lnTo>
                    <a:pt x="118" y="406"/>
                  </a:lnTo>
                  <a:lnTo>
                    <a:pt x="112" y="400"/>
                  </a:lnTo>
                  <a:lnTo>
                    <a:pt x="100" y="400"/>
                  </a:lnTo>
                  <a:lnTo>
                    <a:pt x="92" y="396"/>
                  </a:lnTo>
                  <a:lnTo>
                    <a:pt x="102" y="390"/>
                  </a:lnTo>
                  <a:lnTo>
                    <a:pt x="106" y="384"/>
                  </a:lnTo>
                  <a:lnTo>
                    <a:pt x="96" y="378"/>
                  </a:lnTo>
                  <a:lnTo>
                    <a:pt x="98" y="374"/>
                  </a:lnTo>
                  <a:lnTo>
                    <a:pt x="100" y="364"/>
                  </a:lnTo>
                  <a:lnTo>
                    <a:pt x="92" y="354"/>
                  </a:lnTo>
                  <a:lnTo>
                    <a:pt x="82" y="358"/>
                  </a:lnTo>
                  <a:lnTo>
                    <a:pt x="76" y="350"/>
                  </a:lnTo>
                  <a:lnTo>
                    <a:pt x="62" y="350"/>
                  </a:lnTo>
                  <a:lnTo>
                    <a:pt x="50" y="340"/>
                  </a:lnTo>
                  <a:lnTo>
                    <a:pt x="44" y="330"/>
                  </a:lnTo>
                  <a:lnTo>
                    <a:pt x="42" y="314"/>
                  </a:lnTo>
                  <a:lnTo>
                    <a:pt x="34" y="312"/>
                  </a:lnTo>
                  <a:lnTo>
                    <a:pt x="22" y="300"/>
                  </a:lnTo>
                  <a:lnTo>
                    <a:pt x="10" y="290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6" name="Freeform 41"/>
            <p:cNvSpPr>
              <a:spLocks/>
            </p:cNvSpPr>
            <p:nvPr/>
          </p:nvSpPr>
          <p:spPr bwMode="gray">
            <a:xfrm>
              <a:off x="2069073" y="4949442"/>
              <a:ext cx="78945" cy="167228"/>
            </a:xfrm>
            <a:custGeom>
              <a:avLst/>
              <a:gdLst>
                <a:gd name="T0" fmla="*/ 10 w 73"/>
                <a:gd name="T1" fmla="*/ 44 h 160"/>
                <a:gd name="T2" fmla="*/ 26 w 73"/>
                <a:gd name="T3" fmla="*/ 38 h 160"/>
                <a:gd name="T4" fmla="*/ 34 w 73"/>
                <a:gd name="T5" fmla="*/ 32 h 160"/>
                <a:gd name="T6" fmla="*/ 44 w 73"/>
                <a:gd name="T7" fmla="*/ 26 h 160"/>
                <a:gd name="T8" fmla="*/ 54 w 73"/>
                <a:gd name="T9" fmla="*/ 32 h 160"/>
                <a:gd name="T10" fmla="*/ 58 w 73"/>
                <a:gd name="T11" fmla="*/ 18 h 160"/>
                <a:gd name="T12" fmla="*/ 58 w 73"/>
                <a:gd name="T13" fmla="*/ 10 h 160"/>
                <a:gd name="T14" fmla="*/ 60 w 73"/>
                <a:gd name="T15" fmla="*/ 0 h 160"/>
                <a:gd name="T16" fmla="*/ 67 w 73"/>
                <a:gd name="T17" fmla="*/ 6 h 160"/>
                <a:gd name="T18" fmla="*/ 67 w 73"/>
                <a:gd name="T19" fmla="*/ 20 h 160"/>
                <a:gd name="T20" fmla="*/ 67 w 73"/>
                <a:gd name="T21" fmla="*/ 36 h 160"/>
                <a:gd name="T22" fmla="*/ 71 w 73"/>
                <a:gd name="T23" fmla="*/ 46 h 160"/>
                <a:gd name="T24" fmla="*/ 73 w 73"/>
                <a:gd name="T25" fmla="*/ 64 h 160"/>
                <a:gd name="T26" fmla="*/ 73 w 73"/>
                <a:gd name="T27" fmla="*/ 90 h 160"/>
                <a:gd name="T28" fmla="*/ 63 w 73"/>
                <a:gd name="T29" fmla="*/ 104 h 160"/>
                <a:gd name="T30" fmla="*/ 58 w 73"/>
                <a:gd name="T31" fmla="*/ 118 h 160"/>
                <a:gd name="T32" fmla="*/ 60 w 73"/>
                <a:gd name="T33" fmla="*/ 132 h 160"/>
                <a:gd name="T34" fmla="*/ 54 w 73"/>
                <a:gd name="T35" fmla="*/ 142 h 160"/>
                <a:gd name="T36" fmla="*/ 46 w 73"/>
                <a:gd name="T37" fmla="*/ 154 h 160"/>
                <a:gd name="T38" fmla="*/ 46 w 73"/>
                <a:gd name="T39" fmla="*/ 160 h 160"/>
                <a:gd name="T40" fmla="*/ 38 w 73"/>
                <a:gd name="T41" fmla="*/ 160 h 160"/>
                <a:gd name="T42" fmla="*/ 36 w 73"/>
                <a:gd name="T43" fmla="*/ 152 h 160"/>
                <a:gd name="T44" fmla="*/ 28 w 73"/>
                <a:gd name="T45" fmla="*/ 150 h 160"/>
                <a:gd name="T46" fmla="*/ 22 w 73"/>
                <a:gd name="T47" fmla="*/ 146 h 160"/>
                <a:gd name="T48" fmla="*/ 16 w 73"/>
                <a:gd name="T49" fmla="*/ 138 h 160"/>
                <a:gd name="T50" fmla="*/ 24 w 73"/>
                <a:gd name="T51" fmla="*/ 130 h 160"/>
                <a:gd name="T52" fmla="*/ 24 w 73"/>
                <a:gd name="T53" fmla="*/ 128 h 160"/>
                <a:gd name="T54" fmla="*/ 6 w 73"/>
                <a:gd name="T55" fmla="*/ 124 h 160"/>
                <a:gd name="T56" fmla="*/ 10 w 73"/>
                <a:gd name="T57" fmla="*/ 116 h 160"/>
                <a:gd name="T58" fmla="*/ 14 w 73"/>
                <a:gd name="T59" fmla="*/ 110 h 160"/>
                <a:gd name="T60" fmla="*/ 4 w 73"/>
                <a:gd name="T61" fmla="*/ 106 h 160"/>
                <a:gd name="T62" fmla="*/ 6 w 73"/>
                <a:gd name="T63" fmla="*/ 102 h 160"/>
                <a:gd name="T64" fmla="*/ 12 w 73"/>
                <a:gd name="T65" fmla="*/ 92 h 160"/>
                <a:gd name="T66" fmla="*/ 6 w 73"/>
                <a:gd name="T67" fmla="*/ 86 h 160"/>
                <a:gd name="T68" fmla="*/ 0 w 73"/>
                <a:gd name="T69" fmla="*/ 82 h 160"/>
                <a:gd name="T70" fmla="*/ 4 w 73"/>
                <a:gd name="T71" fmla="*/ 76 h 160"/>
                <a:gd name="T72" fmla="*/ 6 w 73"/>
                <a:gd name="T73" fmla="*/ 70 h 160"/>
                <a:gd name="T74" fmla="*/ 0 w 73"/>
                <a:gd name="T75" fmla="*/ 64 h 160"/>
                <a:gd name="T76" fmla="*/ 4 w 73"/>
                <a:gd name="T77" fmla="*/ 58 h 160"/>
                <a:gd name="T78" fmla="*/ 8 w 73"/>
                <a:gd name="T79" fmla="*/ 56 h 160"/>
                <a:gd name="T80" fmla="*/ 8 w 73"/>
                <a:gd name="T81" fmla="*/ 48 h 160"/>
                <a:gd name="T82" fmla="*/ 10 w 73"/>
                <a:gd name="T83" fmla="*/ 4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" h="160">
                  <a:moveTo>
                    <a:pt x="10" y="44"/>
                  </a:moveTo>
                  <a:lnTo>
                    <a:pt x="26" y="38"/>
                  </a:lnTo>
                  <a:lnTo>
                    <a:pt x="34" y="32"/>
                  </a:lnTo>
                  <a:lnTo>
                    <a:pt x="44" y="26"/>
                  </a:lnTo>
                  <a:lnTo>
                    <a:pt x="54" y="32"/>
                  </a:lnTo>
                  <a:lnTo>
                    <a:pt x="58" y="18"/>
                  </a:lnTo>
                  <a:lnTo>
                    <a:pt x="58" y="10"/>
                  </a:lnTo>
                  <a:lnTo>
                    <a:pt x="60" y="0"/>
                  </a:lnTo>
                  <a:lnTo>
                    <a:pt x="67" y="6"/>
                  </a:lnTo>
                  <a:lnTo>
                    <a:pt x="67" y="20"/>
                  </a:lnTo>
                  <a:lnTo>
                    <a:pt x="67" y="36"/>
                  </a:lnTo>
                  <a:lnTo>
                    <a:pt x="71" y="46"/>
                  </a:lnTo>
                  <a:lnTo>
                    <a:pt x="73" y="64"/>
                  </a:lnTo>
                  <a:lnTo>
                    <a:pt x="73" y="90"/>
                  </a:lnTo>
                  <a:lnTo>
                    <a:pt x="63" y="104"/>
                  </a:lnTo>
                  <a:lnTo>
                    <a:pt x="58" y="118"/>
                  </a:lnTo>
                  <a:lnTo>
                    <a:pt x="60" y="132"/>
                  </a:lnTo>
                  <a:lnTo>
                    <a:pt x="54" y="142"/>
                  </a:lnTo>
                  <a:lnTo>
                    <a:pt x="46" y="154"/>
                  </a:lnTo>
                  <a:lnTo>
                    <a:pt x="46" y="160"/>
                  </a:lnTo>
                  <a:lnTo>
                    <a:pt x="38" y="160"/>
                  </a:lnTo>
                  <a:lnTo>
                    <a:pt x="36" y="152"/>
                  </a:lnTo>
                  <a:lnTo>
                    <a:pt x="28" y="150"/>
                  </a:lnTo>
                  <a:lnTo>
                    <a:pt x="22" y="146"/>
                  </a:lnTo>
                  <a:lnTo>
                    <a:pt x="16" y="138"/>
                  </a:lnTo>
                  <a:lnTo>
                    <a:pt x="24" y="130"/>
                  </a:lnTo>
                  <a:lnTo>
                    <a:pt x="24" y="128"/>
                  </a:lnTo>
                  <a:lnTo>
                    <a:pt x="6" y="124"/>
                  </a:lnTo>
                  <a:lnTo>
                    <a:pt x="10" y="116"/>
                  </a:lnTo>
                  <a:lnTo>
                    <a:pt x="14" y="110"/>
                  </a:lnTo>
                  <a:lnTo>
                    <a:pt x="4" y="106"/>
                  </a:lnTo>
                  <a:lnTo>
                    <a:pt x="6" y="102"/>
                  </a:lnTo>
                  <a:lnTo>
                    <a:pt x="12" y="92"/>
                  </a:lnTo>
                  <a:lnTo>
                    <a:pt x="6" y="86"/>
                  </a:lnTo>
                  <a:lnTo>
                    <a:pt x="0" y="82"/>
                  </a:lnTo>
                  <a:lnTo>
                    <a:pt x="4" y="76"/>
                  </a:lnTo>
                  <a:lnTo>
                    <a:pt x="6" y="70"/>
                  </a:lnTo>
                  <a:lnTo>
                    <a:pt x="0" y="64"/>
                  </a:lnTo>
                  <a:lnTo>
                    <a:pt x="4" y="58"/>
                  </a:lnTo>
                  <a:lnTo>
                    <a:pt x="8" y="56"/>
                  </a:lnTo>
                  <a:lnTo>
                    <a:pt x="8" y="48"/>
                  </a:lnTo>
                  <a:lnTo>
                    <a:pt x="10" y="4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7" name="Freeform 42"/>
            <p:cNvSpPr>
              <a:spLocks/>
            </p:cNvSpPr>
            <p:nvPr/>
          </p:nvSpPr>
          <p:spPr bwMode="gray">
            <a:xfrm>
              <a:off x="2031687" y="5131386"/>
              <a:ext cx="136481" cy="242146"/>
            </a:xfrm>
            <a:custGeom>
              <a:avLst/>
              <a:gdLst>
                <a:gd name="T0" fmla="*/ 12 w 125"/>
                <a:gd name="T1" fmla="*/ 18 h 232"/>
                <a:gd name="T2" fmla="*/ 8 w 125"/>
                <a:gd name="T3" fmla="*/ 32 h 232"/>
                <a:gd name="T4" fmla="*/ 28 w 125"/>
                <a:gd name="T5" fmla="*/ 40 h 232"/>
                <a:gd name="T6" fmla="*/ 38 w 125"/>
                <a:gd name="T7" fmla="*/ 32 h 232"/>
                <a:gd name="T8" fmla="*/ 66 w 125"/>
                <a:gd name="T9" fmla="*/ 12 h 232"/>
                <a:gd name="T10" fmla="*/ 76 w 125"/>
                <a:gd name="T11" fmla="*/ 8 h 232"/>
                <a:gd name="T12" fmla="*/ 86 w 125"/>
                <a:gd name="T13" fmla="*/ 0 h 232"/>
                <a:gd name="T14" fmla="*/ 94 w 125"/>
                <a:gd name="T15" fmla="*/ 8 h 232"/>
                <a:gd name="T16" fmla="*/ 105 w 125"/>
                <a:gd name="T17" fmla="*/ 18 h 232"/>
                <a:gd name="T18" fmla="*/ 109 w 125"/>
                <a:gd name="T19" fmla="*/ 30 h 232"/>
                <a:gd name="T20" fmla="*/ 117 w 125"/>
                <a:gd name="T21" fmla="*/ 50 h 232"/>
                <a:gd name="T22" fmla="*/ 125 w 125"/>
                <a:gd name="T23" fmla="*/ 68 h 232"/>
                <a:gd name="T24" fmla="*/ 117 w 125"/>
                <a:gd name="T25" fmla="*/ 86 h 232"/>
                <a:gd name="T26" fmla="*/ 113 w 125"/>
                <a:gd name="T27" fmla="*/ 104 h 232"/>
                <a:gd name="T28" fmla="*/ 115 w 125"/>
                <a:gd name="T29" fmla="*/ 122 h 232"/>
                <a:gd name="T30" fmla="*/ 113 w 125"/>
                <a:gd name="T31" fmla="*/ 156 h 232"/>
                <a:gd name="T32" fmla="*/ 111 w 125"/>
                <a:gd name="T33" fmla="*/ 188 h 232"/>
                <a:gd name="T34" fmla="*/ 107 w 125"/>
                <a:gd name="T35" fmla="*/ 204 h 232"/>
                <a:gd name="T36" fmla="*/ 97 w 125"/>
                <a:gd name="T37" fmla="*/ 206 h 232"/>
                <a:gd name="T38" fmla="*/ 76 w 125"/>
                <a:gd name="T39" fmla="*/ 198 h 232"/>
                <a:gd name="T40" fmla="*/ 66 w 125"/>
                <a:gd name="T41" fmla="*/ 202 h 232"/>
                <a:gd name="T42" fmla="*/ 66 w 125"/>
                <a:gd name="T43" fmla="*/ 216 h 232"/>
                <a:gd name="T44" fmla="*/ 52 w 125"/>
                <a:gd name="T45" fmla="*/ 230 h 232"/>
                <a:gd name="T46" fmla="*/ 40 w 125"/>
                <a:gd name="T47" fmla="*/ 228 h 232"/>
                <a:gd name="T48" fmla="*/ 32 w 125"/>
                <a:gd name="T49" fmla="*/ 230 h 232"/>
                <a:gd name="T50" fmla="*/ 24 w 125"/>
                <a:gd name="T51" fmla="*/ 212 h 232"/>
                <a:gd name="T52" fmla="*/ 16 w 125"/>
                <a:gd name="T53" fmla="*/ 212 h 232"/>
                <a:gd name="T54" fmla="*/ 14 w 125"/>
                <a:gd name="T55" fmla="*/ 196 h 232"/>
                <a:gd name="T56" fmla="*/ 16 w 125"/>
                <a:gd name="T57" fmla="*/ 178 h 232"/>
                <a:gd name="T58" fmla="*/ 22 w 125"/>
                <a:gd name="T59" fmla="*/ 158 h 232"/>
                <a:gd name="T60" fmla="*/ 28 w 125"/>
                <a:gd name="T61" fmla="*/ 142 h 232"/>
                <a:gd name="T62" fmla="*/ 16 w 125"/>
                <a:gd name="T63" fmla="*/ 128 h 232"/>
                <a:gd name="T64" fmla="*/ 22 w 125"/>
                <a:gd name="T65" fmla="*/ 112 h 232"/>
                <a:gd name="T66" fmla="*/ 16 w 125"/>
                <a:gd name="T67" fmla="*/ 84 h 232"/>
                <a:gd name="T68" fmla="*/ 8 w 125"/>
                <a:gd name="T69" fmla="*/ 64 h 232"/>
                <a:gd name="T70" fmla="*/ 2 w 125"/>
                <a:gd name="T71" fmla="*/ 54 h 232"/>
                <a:gd name="T72" fmla="*/ 4 w 125"/>
                <a:gd name="T73" fmla="*/ 36 h 232"/>
                <a:gd name="T74" fmla="*/ 6 w 125"/>
                <a:gd name="T75" fmla="*/ 20 h 232"/>
                <a:gd name="T76" fmla="*/ 14 w 125"/>
                <a:gd name="T77" fmla="*/ 1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232">
                  <a:moveTo>
                    <a:pt x="14" y="14"/>
                  </a:moveTo>
                  <a:lnTo>
                    <a:pt x="12" y="18"/>
                  </a:lnTo>
                  <a:lnTo>
                    <a:pt x="10" y="24"/>
                  </a:lnTo>
                  <a:lnTo>
                    <a:pt x="8" y="32"/>
                  </a:lnTo>
                  <a:lnTo>
                    <a:pt x="14" y="38"/>
                  </a:lnTo>
                  <a:lnTo>
                    <a:pt x="28" y="40"/>
                  </a:lnTo>
                  <a:lnTo>
                    <a:pt x="36" y="34"/>
                  </a:lnTo>
                  <a:lnTo>
                    <a:pt x="38" y="32"/>
                  </a:lnTo>
                  <a:lnTo>
                    <a:pt x="46" y="32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6" y="8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88" y="6"/>
                  </a:lnTo>
                  <a:lnTo>
                    <a:pt x="94" y="8"/>
                  </a:lnTo>
                  <a:lnTo>
                    <a:pt x="107" y="12"/>
                  </a:lnTo>
                  <a:lnTo>
                    <a:pt x="105" y="18"/>
                  </a:lnTo>
                  <a:lnTo>
                    <a:pt x="113" y="24"/>
                  </a:lnTo>
                  <a:lnTo>
                    <a:pt x="109" y="30"/>
                  </a:lnTo>
                  <a:lnTo>
                    <a:pt x="117" y="40"/>
                  </a:lnTo>
                  <a:lnTo>
                    <a:pt x="117" y="50"/>
                  </a:lnTo>
                  <a:lnTo>
                    <a:pt x="121" y="58"/>
                  </a:lnTo>
                  <a:lnTo>
                    <a:pt x="125" y="68"/>
                  </a:lnTo>
                  <a:lnTo>
                    <a:pt x="125" y="82"/>
                  </a:lnTo>
                  <a:lnTo>
                    <a:pt x="117" y="86"/>
                  </a:lnTo>
                  <a:lnTo>
                    <a:pt x="111" y="96"/>
                  </a:lnTo>
                  <a:lnTo>
                    <a:pt x="113" y="104"/>
                  </a:lnTo>
                  <a:lnTo>
                    <a:pt x="119" y="114"/>
                  </a:lnTo>
                  <a:lnTo>
                    <a:pt x="115" y="122"/>
                  </a:lnTo>
                  <a:lnTo>
                    <a:pt x="115" y="148"/>
                  </a:lnTo>
                  <a:lnTo>
                    <a:pt x="113" y="156"/>
                  </a:lnTo>
                  <a:lnTo>
                    <a:pt x="113" y="178"/>
                  </a:lnTo>
                  <a:lnTo>
                    <a:pt x="111" y="188"/>
                  </a:lnTo>
                  <a:lnTo>
                    <a:pt x="107" y="194"/>
                  </a:lnTo>
                  <a:lnTo>
                    <a:pt x="107" y="204"/>
                  </a:lnTo>
                  <a:lnTo>
                    <a:pt x="103" y="210"/>
                  </a:lnTo>
                  <a:lnTo>
                    <a:pt x="97" y="206"/>
                  </a:lnTo>
                  <a:lnTo>
                    <a:pt x="84" y="200"/>
                  </a:lnTo>
                  <a:lnTo>
                    <a:pt x="76" y="198"/>
                  </a:lnTo>
                  <a:lnTo>
                    <a:pt x="70" y="196"/>
                  </a:lnTo>
                  <a:lnTo>
                    <a:pt x="66" y="202"/>
                  </a:lnTo>
                  <a:lnTo>
                    <a:pt x="64" y="210"/>
                  </a:lnTo>
                  <a:lnTo>
                    <a:pt x="66" y="216"/>
                  </a:lnTo>
                  <a:lnTo>
                    <a:pt x="60" y="222"/>
                  </a:lnTo>
                  <a:lnTo>
                    <a:pt x="52" y="230"/>
                  </a:lnTo>
                  <a:lnTo>
                    <a:pt x="46" y="230"/>
                  </a:lnTo>
                  <a:lnTo>
                    <a:pt x="40" y="228"/>
                  </a:lnTo>
                  <a:lnTo>
                    <a:pt x="36" y="232"/>
                  </a:lnTo>
                  <a:lnTo>
                    <a:pt x="32" y="230"/>
                  </a:lnTo>
                  <a:lnTo>
                    <a:pt x="30" y="220"/>
                  </a:lnTo>
                  <a:lnTo>
                    <a:pt x="24" y="212"/>
                  </a:lnTo>
                  <a:lnTo>
                    <a:pt x="20" y="216"/>
                  </a:lnTo>
                  <a:lnTo>
                    <a:pt x="16" y="212"/>
                  </a:lnTo>
                  <a:lnTo>
                    <a:pt x="18" y="206"/>
                  </a:lnTo>
                  <a:lnTo>
                    <a:pt x="14" y="196"/>
                  </a:lnTo>
                  <a:lnTo>
                    <a:pt x="18" y="186"/>
                  </a:lnTo>
                  <a:lnTo>
                    <a:pt x="16" y="178"/>
                  </a:lnTo>
                  <a:lnTo>
                    <a:pt x="18" y="168"/>
                  </a:lnTo>
                  <a:lnTo>
                    <a:pt x="22" y="158"/>
                  </a:lnTo>
                  <a:lnTo>
                    <a:pt x="20" y="146"/>
                  </a:lnTo>
                  <a:lnTo>
                    <a:pt x="28" y="142"/>
                  </a:lnTo>
                  <a:lnTo>
                    <a:pt x="26" y="132"/>
                  </a:lnTo>
                  <a:lnTo>
                    <a:pt x="16" y="128"/>
                  </a:lnTo>
                  <a:lnTo>
                    <a:pt x="18" y="118"/>
                  </a:lnTo>
                  <a:lnTo>
                    <a:pt x="22" y="112"/>
                  </a:lnTo>
                  <a:lnTo>
                    <a:pt x="24" y="92"/>
                  </a:lnTo>
                  <a:lnTo>
                    <a:pt x="16" y="84"/>
                  </a:lnTo>
                  <a:lnTo>
                    <a:pt x="16" y="74"/>
                  </a:lnTo>
                  <a:lnTo>
                    <a:pt x="8" y="64"/>
                  </a:lnTo>
                  <a:lnTo>
                    <a:pt x="0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4" y="36"/>
                  </a:lnTo>
                  <a:lnTo>
                    <a:pt x="4" y="28"/>
                  </a:lnTo>
                  <a:lnTo>
                    <a:pt x="6" y="20"/>
                  </a:lnTo>
                  <a:lnTo>
                    <a:pt x="10" y="14"/>
                  </a:lnTo>
                  <a:lnTo>
                    <a:pt x="14" y="1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8" name="Freeform 43"/>
            <p:cNvSpPr>
              <a:spLocks/>
            </p:cNvSpPr>
            <p:nvPr/>
          </p:nvSpPr>
          <p:spPr bwMode="gray">
            <a:xfrm>
              <a:off x="2396894" y="5416501"/>
              <a:ext cx="271623" cy="171241"/>
            </a:xfrm>
            <a:custGeom>
              <a:avLst/>
              <a:gdLst>
                <a:gd name="T0" fmla="*/ 28 w 248"/>
                <a:gd name="T1" fmla="*/ 34 h 164"/>
                <a:gd name="T2" fmla="*/ 44 w 248"/>
                <a:gd name="T3" fmla="*/ 36 h 164"/>
                <a:gd name="T4" fmla="*/ 50 w 248"/>
                <a:gd name="T5" fmla="*/ 24 h 164"/>
                <a:gd name="T6" fmla="*/ 66 w 248"/>
                <a:gd name="T7" fmla="*/ 18 h 164"/>
                <a:gd name="T8" fmla="*/ 78 w 248"/>
                <a:gd name="T9" fmla="*/ 28 h 164"/>
                <a:gd name="T10" fmla="*/ 92 w 248"/>
                <a:gd name="T11" fmla="*/ 36 h 164"/>
                <a:gd name="T12" fmla="*/ 110 w 248"/>
                <a:gd name="T13" fmla="*/ 42 h 164"/>
                <a:gd name="T14" fmla="*/ 128 w 248"/>
                <a:gd name="T15" fmla="*/ 34 h 164"/>
                <a:gd name="T16" fmla="*/ 148 w 248"/>
                <a:gd name="T17" fmla="*/ 34 h 164"/>
                <a:gd name="T18" fmla="*/ 172 w 248"/>
                <a:gd name="T19" fmla="*/ 26 h 164"/>
                <a:gd name="T20" fmla="*/ 178 w 248"/>
                <a:gd name="T21" fmla="*/ 20 h 164"/>
                <a:gd name="T22" fmla="*/ 190 w 248"/>
                <a:gd name="T23" fmla="*/ 16 h 164"/>
                <a:gd name="T24" fmla="*/ 208 w 248"/>
                <a:gd name="T25" fmla="*/ 18 h 164"/>
                <a:gd name="T26" fmla="*/ 226 w 248"/>
                <a:gd name="T27" fmla="*/ 10 h 164"/>
                <a:gd name="T28" fmla="*/ 238 w 248"/>
                <a:gd name="T29" fmla="*/ 0 h 164"/>
                <a:gd name="T30" fmla="*/ 248 w 248"/>
                <a:gd name="T31" fmla="*/ 2 h 164"/>
                <a:gd name="T32" fmla="*/ 244 w 248"/>
                <a:gd name="T33" fmla="*/ 12 h 164"/>
                <a:gd name="T34" fmla="*/ 236 w 248"/>
                <a:gd name="T35" fmla="*/ 28 h 164"/>
                <a:gd name="T36" fmla="*/ 228 w 248"/>
                <a:gd name="T37" fmla="*/ 42 h 164"/>
                <a:gd name="T38" fmla="*/ 220 w 248"/>
                <a:gd name="T39" fmla="*/ 62 h 164"/>
                <a:gd name="T40" fmla="*/ 212 w 248"/>
                <a:gd name="T41" fmla="*/ 80 h 164"/>
                <a:gd name="T42" fmla="*/ 216 w 248"/>
                <a:gd name="T43" fmla="*/ 100 h 164"/>
                <a:gd name="T44" fmla="*/ 224 w 248"/>
                <a:gd name="T45" fmla="*/ 110 h 164"/>
                <a:gd name="T46" fmla="*/ 232 w 248"/>
                <a:gd name="T47" fmla="*/ 126 h 164"/>
                <a:gd name="T48" fmla="*/ 222 w 248"/>
                <a:gd name="T49" fmla="*/ 136 h 164"/>
                <a:gd name="T50" fmla="*/ 218 w 248"/>
                <a:gd name="T51" fmla="*/ 148 h 164"/>
                <a:gd name="T52" fmla="*/ 218 w 248"/>
                <a:gd name="T53" fmla="*/ 164 h 164"/>
                <a:gd name="T54" fmla="*/ 200 w 248"/>
                <a:gd name="T55" fmla="*/ 160 h 164"/>
                <a:gd name="T56" fmla="*/ 186 w 248"/>
                <a:gd name="T57" fmla="*/ 162 h 164"/>
                <a:gd name="T58" fmla="*/ 168 w 248"/>
                <a:gd name="T59" fmla="*/ 156 h 164"/>
                <a:gd name="T60" fmla="*/ 162 w 248"/>
                <a:gd name="T61" fmla="*/ 142 h 164"/>
                <a:gd name="T62" fmla="*/ 148 w 248"/>
                <a:gd name="T63" fmla="*/ 130 h 164"/>
                <a:gd name="T64" fmla="*/ 128 w 248"/>
                <a:gd name="T65" fmla="*/ 126 h 164"/>
                <a:gd name="T66" fmla="*/ 110 w 248"/>
                <a:gd name="T67" fmla="*/ 124 h 164"/>
                <a:gd name="T68" fmla="*/ 100 w 248"/>
                <a:gd name="T69" fmla="*/ 116 h 164"/>
                <a:gd name="T70" fmla="*/ 84 w 248"/>
                <a:gd name="T71" fmla="*/ 108 h 164"/>
                <a:gd name="T72" fmla="*/ 66 w 248"/>
                <a:gd name="T73" fmla="*/ 100 h 164"/>
                <a:gd name="T74" fmla="*/ 46 w 248"/>
                <a:gd name="T75" fmla="*/ 90 h 164"/>
                <a:gd name="T76" fmla="*/ 28 w 248"/>
                <a:gd name="T77" fmla="*/ 86 h 164"/>
                <a:gd name="T78" fmla="*/ 12 w 248"/>
                <a:gd name="T79" fmla="*/ 78 h 164"/>
                <a:gd name="T80" fmla="*/ 0 w 248"/>
                <a:gd name="T81" fmla="*/ 60 h 164"/>
                <a:gd name="T82" fmla="*/ 10 w 248"/>
                <a:gd name="T83" fmla="*/ 38 h 164"/>
                <a:gd name="T84" fmla="*/ 24 w 248"/>
                <a:gd name="T85" fmla="*/ 2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8" h="164">
                  <a:moveTo>
                    <a:pt x="24" y="26"/>
                  </a:moveTo>
                  <a:lnTo>
                    <a:pt x="28" y="34"/>
                  </a:lnTo>
                  <a:lnTo>
                    <a:pt x="34" y="38"/>
                  </a:lnTo>
                  <a:lnTo>
                    <a:pt x="44" y="36"/>
                  </a:lnTo>
                  <a:lnTo>
                    <a:pt x="48" y="30"/>
                  </a:lnTo>
                  <a:lnTo>
                    <a:pt x="50" y="24"/>
                  </a:lnTo>
                  <a:lnTo>
                    <a:pt x="56" y="24"/>
                  </a:lnTo>
                  <a:lnTo>
                    <a:pt x="66" y="18"/>
                  </a:lnTo>
                  <a:lnTo>
                    <a:pt x="72" y="20"/>
                  </a:lnTo>
                  <a:lnTo>
                    <a:pt x="78" y="28"/>
                  </a:lnTo>
                  <a:lnTo>
                    <a:pt x="86" y="30"/>
                  </a:lnTo>
                  <a:lnTo>
                    <a:pt x="92" y="36"/>
                  </a:lnTo>
                  <a:lnTo>
                    <a:pt x="98" y="38"/>
                  </a:lnTo>
                  <a:lnTo>
                    <a:pt x="110" y="42"/>
                  </a:lnTo>
                  <a:lnTo>
                    <a:pt x="120" y="34"/>
                  </a:lnTo>
                  <a:lnTo>
                    <a:pt x="128" y="34"/>
                  </a:lnTo>
                  <a:lnTo>
                    <a:pt x="136" y="34"/>
                  </a:lnTo>
                  <a:lnTo>
                    <a:pt x="148" y="34"/>
                  </a:lnTo>
                  <a:lnTo>
                    <a:pt x="162" y="30"/>
                  </a:lnTo>
                  <a:lnTo>
                    <a:pt x="172" y="26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16"/>
                  </a:lnTo>
                  <a:lnTo>
                    <a:pt x="190" y="16"/>
                  </a:lnTo>
                  <a:lnTo>
                    <a:pt x="200" y="16"/>
                  </a:lnTo>
                  <a:lnTo>
                    <a:pt x="208" y="18"/>
                  </a:lnTo>
                  <a:lnTo>
                    <a:pt x="216" y="10"/>
                  </a:lnTo>
                  <a:lnTo>
                    <a:pt x="226" y="10"/>
                  </a:lnTo>
                  <a:lnTo>
                    <a:pt x="232" y="4"/>
                  </a:lnTo>
                  <a:lnTo>
                    <a:pt x="238" y="0"/>
                  </a:lnTo>
                  <a:lnTo>
                    <a:pt x="244" y="0"/>
                  </a:lnTo>
                  <a:lnTo>
                    <a:pt x="248" y="2"/>
                  </a:lnTo>
                  <a:lnTo>
                    <a:pt x="242" y="6"/>
                  </a:lnTo>
                  <a:lnTo>
                    <a:pt x="244" y="12"/>
                  </a:lnTo>
                  <a:lnTo>
                    <a:pt x="240" y="18"/>
                  </a:lnTo>
                  <a:lnTo>
                    <a:pt x="236" y="28"/>
                  </a:lnTo>
                  <a:lnTo>
                    <a:pt x="232" y="36"/>
                  </a:lnTo>
                  <a:lnTo>
                    <a:pt x="228" y="42"/>
                  </a:lnTo>
                  <a:lnTo>
                    <a:pt x="220" y="52"/>
                  </a:lnTo>
                  <a:lnTo>
                    <a:pt x="220" y="62"/>
                  </a:lnTo>
                  <a:lnTo>
                    <a:pt x="218" y="74"/>
                  </a:lnTo>
                  <a:lnTo>
                    <a:pt x="212" y="80"/>
                  </a:lnTo>
                  <a:lnTo>
                    <a:pt x="214" y="96"/>
                  </a:lnTo>
                  <a:lnTo>
                    <a:pt x="216" y="100"/>
                  </a:lnTo>
                  <a:lnTo>
                    <a:pt x="226" y="102"/>
                  </a:lnTo>
                  <a:lnTo>
                    <a:pt x="224" y="110"/>
                  </a:lnTo>
                  <a:lnTo>
                    <a:pt x="230" y="120"/>
                  </a:lnTo>
                  <a:lnTo>
                    <a:pt x="232" y="126"/>
                  </a:lnTo>
                  <a:lnTo>
                    <a:pt x="232" y="132"/>
                  </a:lnTo>
                  <a:lnTo>
                    <a:pt x="222" y="136"/>
                  </a:lnTo>
                  <a:lnTo>
                    <a:pt x="218" y="140"/>
                  </a:lnTo>
                  <a:lnTo>
                    <a:pt x="218" y="148"/>
                  </a:lnTo>
                  <a:lnTo>
                    <a:pt x="218" y="158"/>
                  </a:lnTo>
                  <a:lnTo>
                    <a:pt x="218" y="164"/>
                  </a:lnTo>
                  <a:lnTo>
                    <a:pt x="206" y="164"/>
                  </a:lnTo>
                  <a:lnTo>
                    <a:pt x="200" y="160"/>
                  </a:lnTo>
                  <a:lnTo>
                    <a:pt x="194" y="162"/>
                  </a:lnTo>
                  <a:lnTo>
                    <a:pt x="186" y="162"/>
                  </a:lnTo>
                  <a:lnTo>
                    <a:pt x="178" y="158"/>
                  </a:lnTo>
                  <a:lnTo>
                    <a:pt x="168" y="156"/>
                  </a:lnTo>
                  <a:lnTo>
                    <a:pt x="164" y="150"/>
                  </a:lnTo>
                  <a:lnTo>
                    <a:pt x="162" y="142"/>
                  </a:lnTo>
                  <a:lnTo>
                    <a:pt x="154" y="136"/>
                  </a:lnTo>
                  <a:lnTo>
                    <a:pt x="148" y="130"/>
                  </a:lnTo>
                  <a:lnTo>
                    <a:pt x="140" y="126"/>
                  </a:lnTo>
                  <a:lnTo>
                    <a:pt x="128" y="126"/>
                  </a:lnTo>
                  <a:lnTo>
                    <a:pt x="118" y="128"/>
                  </a:lnTo>
                  <a:lnTo>
                    <a:pt x="110" y="124"/>
                  </a:lnTo>
                  <a:lnTo>
                    <a:pt x="106" y="122"/>
                  </a:lnTo>
                  <a:lnTo>
                    <a:pt x="100" y="116"/>
                  </a:lnTo>
                  <a:lnTo>
                    <a:pt x="92" y="112"/>
                  </a:lnTo>
                  <a:lnTo>
                    <a:pt x="84" y="108"/>
                  </a:lnTo>
                  <a:lnTo>
                    <a:pt x="74" y="102"/>
                  </a:lnTo>
                  <a:lnTo>
                    <a:pt x="66" y="100"/>
                  </a:lnTo>
                  <a:lnTo>
                    <a:pt x="56" y="90"/>
                  </a:lnTo>
                  <a:lnTo>
                    <a:pt x="46" y="90"/>
                  </a:lnTo>
                  <a:lnTo>
                    <a:pt x="42" y="86"/>
                  </a:lnTo>
                  <a:lnTo>
                    <a:pt x="28" y="86"/>
                  </a:lnTo>
                  <a:lnTo>
                    <a:pt x="20" y="84"/>
                  </a:lnTo>
                  <a:lnTo>
                    <a:pt x="12" y="78"/>
                  </a:lnTo>
                  <a:lnTo>
                    <a:pt x="2" y="70"/>
                  </a:lnTo>
                  <a:lnTo>
                    <a:pt x="0" y="60"/>
                  </a:lnTo>
                  <a:lnTo>
                    <a:pt x="2" y="44"/>
                  </a:lnTo>
                  <a:lnTo>
                    <a:pt x="10" y="38"/>
                  </a:lnTo>
                  <a:lnTo>
                    <a:pt x="16" y="32"/>
                  </a:lnTo>
                  <a:lnTo>
                    <a:pt x="24" y="26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9" name="Freeform 44"/>
            <p:cNvSpPr>
              <a:spLocks/>
            </p:cNvSpPr>
            <p:nvPr/>
          </p:nvSpPr>
          <p:spPr bwMode="gray">
            <a:xfrm>
              <a:off x="2153370" y="4326175"/>
              <a:ext cx="536556" cy="267565"/>
            </a:xfrm>
            <a:custGeom>
              <a:avLst/>
              <a:gdLst>
                <a:gd name="T0" fmla="*/ 28 w 490"/>
                <a:gd name="T1" fmla="*/ 220 h 256"/>
                <a:gd name="T2" fmla="*/ 54 w 490"/>
                <a:gd name="T3" fmla="*/ 208 h 256"/>
                <a:gd name="T4" fmla="*/ 60 w 490"/>
                <a:gd name="T5" fmla="*/ 222 h 256"/>
                <a:gd name="T6" fmla="*/ 84 w 490"/>
                <a:gd name="T7" fmla="*/ 228 h 256"/>
                <a:gd name="T8" fmla="*/ 100 w 490"/>
                <a:gd name="T9" fmla="*/ 214 h 256"/>
                <a:gd name="T10" fmla="*/ 150 w 490"/>
                <a:gd name="T11" fmla="*/ 206 h 256"/>
                <a:gd name="T12" fmla="*/ 178 w 490"/>
                <a:gd name="T13" fmla="*/ 200 h 256"/>
                <a:gd name="T14" fmla="*/ 170 w 490"/>
                <a:gd name="T15" fmla="*/ 212 h 256"/>
                <a:gd name="T16" fmla="*/ 182 w 490"/>
                <a:gd name="T17" fmla="*/ 226 h 256"/>
                <a:gd name="T18" fmla="*/ 212 w 490"/>
                <a:gd name="T19" fmla="*/ 240 h 256"/>
                <a:gd name="T20" fmla="*/ 280 w 490"/>
                <a:gd name="T21" fmla="*/ 248 h 256"/>
                <a:gd name="T22" fmla="*/ 310 w 490"/>
                <a:gd name="T23" fmla="*/ 254 h 256"/>
                <a:gd name="T24" fmla="*/ 358 w 490"/>
                <a:gd name="T25" fmla="*/ 234 h 256"/>
                <a:gd name="T26" fmla="*/ 406 w 490"/>
                <a:gd name="T27" fmla="*/ 220 h 256"/>
                <a:gd name="T28" fmla="*/ 428 w 490"/>
                <a:gd name="T29" fmla="*/ 220 h 256"/>
                <a:gd name="T30" fmla="*/ 438 w 490"/>
                <a:gd name="T31" fmla="*/ 198 h 256"/>
                <a:gd name="T32" fmla="*/ 458 w 490"/>
                <a:gd name="T33" fmla="*/ 186 h 256"/>
                <a:gd name="T34" fmla="*/ 456 w 490"/>
                <a:gd name="T35" fmla="*/ 170 h 256"/>
                <a:gd name="T36" fmla="*/ 464 w 490"/>
                <a:gd name="T37" fmla="*/ 144 h 256"/>
                <a:gd name="T38" fmla="*/ 464 w 490"/>
                <a:gd name="T39" fmla="*/ 126 h 256"/>
                <a:gd name="T40" fmla="*/ 458 w 490"/>
                <a:gd name="T41" fmla="*/ 114 h 256"/>
                <a:gd name="T42" fmla="*/ 474 w 490"/>
                <a:gd name="T43" fmla="*/ 118 h 256"/>
                <a:gd name="T44" fmla="*/ 490 w 490"/>
                <a:gd name="T45" fmla="*/ 76 h 256"/>
                <a:gd name="T46" fmla="*/ 472 w 490"/>
                <a:gd name="T47" fmla="*/ 52 h 256"/>
                <a:gd name="T48" fmla="*/ 478 w 490"/>
                <a:gd name="T49" fmla="*/ 22 h 256"/>
                <a:gd name="T50" fmla="*/ 446 w 490"/>
                <a:gd name="T51" fmla="*/ 10 h 256"/>
                <a:gd name="T52" fmla="*/ 418 w 490"/>
                <a:gd name="T53" fmla="*/ 20 h 256"/>
                <a:gd name="T54" fmla="*/ 392 w 490"/>
                <a:gd name="T55" fmla="*/ 12 h 256"/>
                <a:gd name="T56" fmla="*/ 356 w 490"/>
                <a:gd name="T57" fmla="*/ 0 h 256"/>
                <a:gd name="T58" fmla="*/ 346 w 490"/>
                <a:gd name="T59" fmla="*/ 24 h 256"/>
                <a:gd name="T60" fmla="*/ 332 w 490"/>
                <a:gd name="T61" fmla="*/ 32 h 256"/>
                <a:gd name="T62" fmla="*/ 316 w 490"/>
                <a:gd name="T63" fmla="*/ 40 h 256"/>
                <a:gd name="T64" fmla="*/ 288 w 490"/>
                <a:gd name="T65" fmla="*/ 42 h 256"/>
                <a:gd name="T66" fmla="*/ 274 w 490"/>
                <a:gd name="T67" fmla="*/ 28 h 256"/>
                <a:gd name="T68" fmla="*/ 250 w 490"/>
                <a:gd name="T69" fmla="*/ 48 h 256"/>
                <a:gd name="T70" fmla="*/ 244 w 490"/>
                <a:gd name="T71" fmla="*/ 74 h 256"/>
                <a:gd name="T72" fmla="*/ 208 w 490"/>
                <a:gd name="T73" fmla="*/ 94 h 256"/>
                <a:gd name="T74" fmla="*/ 222 w 490"/>
                <a:gd name="T75" fmla="*/ 132 h 256"/>
                <a:gd name="T76" fmla="*/ 232 w 490"/>
                <a:gd name="T77" fmla="*/ 138 h 256"/>
                <a:gd name="T78" fmla="*/ 224 w 490"/>
                <a:gd name="T79" fmla="*/ 156 h 256"/>
                <a:gd name="T80" fmla="*/ 214 w 490"/>
                <a:gd name="T81" fmla="*/ 142 h 256"/>
                <a:gd name="T82" fmla="*/ 194 w 490"/>
                <a:gd name="T83" fmla="*/ 144 h 256"/>
                <a:gd name="T84" fmla="*/ 172 w 490"/>
                <a:gd name="T85" fmla="*/ 136 h 256"/>
                <a:gd name="T86" fmla="*/ 136 w 490"/>
                <a:gd name="T87" fmla="*/ 148 h 256"/>
                <a:gd name="T88" fmla="*/ 102 w 490"/>
                <a:gd name="T89" fmla="*/ 170 h 256"/>
                <a:gd name="T90" fmla="*/ 58 w 490"/>
                <a:gd name="T91" fmla="*/ 154 h 256"/>
                <a:gd name="T92" fmla="*/ 44 w 490"/>
                <a:gd name="T93" fmla="*/ 180 h 256"/>
                <a:gd name="T94" fmla="*/ 34 w 490"/>
                <a:gd name="T95" fmla="*/ 172 h 256"/>
                <a:gd name="T96" fmla="*/ 16 w 490"/>
                <a:gd name="T97" fmla="*/ 150 h 256"/>
                <a:gd name="T98" fmla="*/ 6 w 490"/>
                <a:gd name="T99" fmla="*/ 164 h 256"/>
                <a:gd name="T100" fmla="*/ 0 w 490"/>
                <a:gd name="T101" fmla="*/ 178 h 256"/>
                <a:gd name="T102" fmla="*/ 10 w 490"/>
                <a:gd name="T103" fmla="*/ 190 h 256"/>
                <a:gd name="T104" fmla="*/ 20 w 490"/>
                <a:gd name="T105" fmla="*/ 20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0" h="256">
                  <a:moveTo>
                    <a:pt x="20" y="208"/>
                  </a:moveTo>
                  <a:lnTo>
                    <a:pt x="28" y="220"/>
                  </a:lnTo>
                  <a:lnTo>
                    <a:pt x="40" y="224"/>
                  </a:lnTo>
                  <a:lnTo>
                    <a:pt x="54" y="208"/>
                  </a:lnTo>
                  <a:lnTo>
                    <a:pt x="60" y="212"/>
                  </a:lnTo>
                  <a:lnTo>
                    <a:pt x="60" y="222"/>
                  </a:lnTo>
                  <a:lnTo>
                    <a:pt x="72" y="220"/>
                  </a:lnTo>
                  <a:lnTo>
                    <a:pt x="84" y="228"/>
                  </a:lnTo>
                  <a:lnTo>
                    <a:pt x="102" y="228"/>
                  </a:lnTo>
                  <a:lnTo>
                    <a:pt x="100" y="214"/>
                  </a:lnTo>
                  <a:lnTo>
                    <a:pt x="110" y="208"/>
                  </a:lnTo>
                  <a:lnTo>
                    <a:pt x="150" y="206"/>
                  </a:lnTo>
                  <a:lnTo>
                    <a:pt x="174" y="196"/>
                  </a:lnTo>
                  <a:lnTo>
                    <a:pt x="178" y="200"/>
                  </a:lnTo>
                  <a:lnTo>
                    <a:pt x="170" y="204"/>
                  </a:lnTo>
                  <a:lnTo>
                    <a:pt x="170" y="212"/>
                  </a:lnTo>
                  <a:lnTo>
                    <a:pt x="182" y="216"/>
                  </a:lnTo>
                  <a:lnTo>
                    <a:pt x="182" y="226"/>
                  </a:lnTo>
                  <a:lnTo>
                    <a:pt x="194" y="238"/>
                  </a:lnTo>
                  <a:lnTo>
                    <a:pt x="212" y="240"/>
                  </a:lnTo>
                  <a:lnTo>
                    <a:pt x="248" y="244"/>
                  </a:lnTo>
                  <a:lnTo>
                    <a:pt x="280" y="248"/>
                  </a:lnTo>
                  <a:lnTo>
                    <a:pt x="304" y="250"/>
                  </a:lnTo>
                  <a:lnTo>
                    <a:pt x="310" y="254"/>
                  </a:lnTo>
                  <a:lnTo>
                    <a:pt x="336" y="256"/>
                  </a:lnTo>
                  <a:lnTo>
                    <a:pt x="358" y="234"/>
                  </a:lnTo>
                  <a:lnTo>
                    <a:pt x="400" y="228"/>
                  </a:lnTo>
                  <a:lnTo>
                    <a:pt x="406" y="220"/>
                  </a:lnTo>
                  <a:lnTo>
                    <a:pt x="418" y="218"/>
                  </a:lnTo>
                  <a:lnTo>
                    <a:pt x="428" y="220"/>
                  </a:lnTo>
                  <a:lnTo>
                    <a:pt x="430" y="204"/>
                  </a:lnTo>
                  <a:lnTo>
                    <a:pt x="438" y="198"/>
                  </a:lnTo>
                  <a:lnTo>
                    <a:pt x="448" y="188"/>
                  </a:lnTo>
                  <a:lnTo>
                    <a:pt x="458" y="186"/>
                  </a:lnTo>
                  <a:lnTo>
                    <a:pt x="462" y="174"/>
                  </a:lnTo>
                  <a:lnTo>
                    <a:pt x="456" y="170"/>
                  </a:lnTo>
                  <a:lnTo>
                    <a:pt x="456" y="148"/>
                  </a:lnTo>
                  <a:lnTo>
                    <a:pt x="464" y="144"/>
                  </a:lnTo>
                  <a:lnTo>
                    <a:pt x="468" y="134"/>
                  </a:lnTo>
                  <a:lnTo>
                    <a:pt x="464" y="126"/>
                  </a:lnTo>
                  <a:lnTo>
                    <a:pt x="450" y="122"/>
                  </a:lnTo>
                  <a:lnTo>
                    <a:pt x="458" y="114"/>
                  </a:lnTo>
                  <a:lnTo>
                    <a:pt x="468" y="114"/>
                  </a:lnTo>
                  <a:lnTo>
                    <a:pt x="474" y="118"/>
                  </a:lnTo>
                  <a:lnTo>
                    <a:pt x="490" y="114"/>
                  </a:lnTo>
                  <a:lnTo>
                    <a:pt x="490" y="76"/>
                  </a:lnTo>
                  <a:lnTo>
                    <a:pt x="482" y="66"/>
                  </a:lnTo>
                  <a:lnTo>
                    <a:pt x="472" y="52"/>
                  </a:lnTo>
                  <a:lnTo>
                    <a:pt x="472" y="40"/>
                  </a:lnTo>
                  <a:lnTo>
                    <a:pt x="478" y="22"/>
                  </a:lnTo>
                  <a:lnTo>
                    <a:pt x="462" y="18"/>
                  </a:lnTo>
                  <a:lnTo>
                    <a:pt x="446" y="10"/>
                  </a:lnTo>
                  <a:lnTo>
                    <a:pt x="436" y="20"/>
                  </a:lnTo>
                  <a:lnTo>
                    <a:pt x="418" y="20"/>
                  </a:lnTo>
                  <a:lnTo>
                    <a:pt x="406" y="12"/>
                  </a:lnTo>
                  <a:lnTo>
                    <a:pt x="392" y="12"/>
                  </a:lnTo>
                  <a:lnTo>
                    <a:pt x="380" y="4"/>
                  </a:lnTo>
                  <a:lnTo>
                    <a:pt x="356" y="0"/>
                  </a:lnTo>
                  <a:lnTo>
                    <a:pt x="346" y="0"/>
                  </a:lnTo>
                  <a:lnTo>
                    <a:pt x="346" y="24"/>
                  </a:lnTo>
                  <a:lnTo>
                    <a:pt x="338" y="24"/>
                  </a:lnTo>
                  <a:lnTo>
                    <a:pt x="332" y="32"/>
                  </a:lnTo>
                  <a:lnTo>
                    <a:pt x="330" y="44"/>
                  </a:lnTo>
                  <a:lnTo>
                    <a:pt x="316" y="40"/>
                  </a:lnTo>
                  <a:lnTo>
                    <a:pt x="306" y="46"/>
                  </a:lnTo>
                  <a:lnTo>
                    <a:pt x="288" y="42"/>
                  </a:lnTo>
                  <a:lnTo>
                    <a:pt x="288" y="34"/>
                  </a:lnTo>
                  <a:lnTo>
                    <a:pt x="274" y="28"/>
                  </a:lnTo>
                  <a:lnTo>
                    <a:pt x="272" y="48"/>
                  </a:lnTo>
                  <a:lnTo>
                    <a:pt x="250" y="48"/>
                  </a:lnTo>
                  <a:lnTo>
                    <a:pt x="252" y="66"/>
                  </a:lnTo>
                  <a:lnTo>
                    <a:pt x="244" y="74"/>
                  </a:lnTo>
                  <a:lnTo>
                    <a:pt x="230" y="76"/>
                  </a:lnTo>
                  <a:lnTo>
                    <a:pt x="208" y="94"/>
                  </a:lnTo>
                  <a:lnTo>
                    <a:pt x="226" y="120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32" y="138"/>
                  </a:lnTo>
                  <a:lnTo>
                    <a:pt x="232" y="146"/>
                  </a:lnTo>
                  <a:lnTo>
                    <a:pt x="224" y="156"/>
                  </a:lnTo>
                  <a:lnTo>
                    <a:pt x="214" y="150"/>
                  </a:lnTo>
                  <a:lnTo>
                    <a:pt x="214" y="142"/>
                  </a:lnTo>
                  <a:lnTo>
                    <a:pt x="206" y="136"/>
                  </a:lnTo>
                  <a:lnTo>
                    <a:pt x="194" y="144"/>
                  </a:lnTo>
                  <a:lnTo>
                    <a:pt x="190" y="138"/>
                  </a:lnTo>
                  <a:lnTo>
                    <a:pt x="172" y="136"/>
                  </a:lnTo>
                  <a:lnTo>
                    <a:pt x="172" y="146"/>
                  </a:lnTo>
                  <a:lnTo>
                    <a:pt x="136" y="148"/>
                  </a:lnTo>
                  <a:lnTo>
                    <a:pt x="122" y="160"/>
                  </a:lnTo>
                  <a:lnTo>
                    <a:pt x="102" y="170"/>
                  </a:lnTo>
                  <a:lnTo>
                    <a:pt x="86" y="154"/>
                  </a:lnTo>
                  <a:lnTo>
                    <a:pt x="58" y="154"/>
                  </a:lnTo>
                  <a:lnTo>
                    <a:pt x="58" y="170"/>
                  </a:lnTo>
                  <a:lnTo>
                    <a:pt x="44" y="180"/>
                  </a:lnTo>
                  <a:lnTo>
                    <a:pt x="40" y="174"/>
                  </a:lnTo>
                  <a:lnTo>
                    <a:pt x="34" y="172"/>
                  </a:lnTo>
                  <a:lnTo>
                    <a:pt x="32" y="162"/>
                  </a:lnTo>
                  <a:lnTo>
                    <a:pt x="16" y="150"/>
                  </a:lnTo>
                  <a:lnTo>
                    <a:pt x="8" y="162"/>
                  </a:lnTo>
                  <a:lnTo>
                    <a:pt x="6" y="164"/>
                  </a:lnTo>
                  <a:lnTo>
                    <a:pt x="2" y="172"/>
                  </a:lnTo>
                  <a:lnTo>
                    <a:pt x="0" y="178"/>
                  </a:lnTo>
                  <a:lnTo>
                    <a:pt x="6" y="180"/>
                  </a:lnTo>
                  <a:lnTo>
                    <a:pt x="10" y="190"/>
                  </a:lnTo>
                  <a:lnTo>
                    <a:pt x="6" y="202"/>
                  </a:lnTo>
                  <a:lnTo>
                    <a:pt x="20" y="20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0" name="Freeform 45"/>
            <p:cNvSpPr>
              <a:spLocks/>
            </p:cNvSpPr>
            <p:nvPr/>
          </p:nvSpPr>
          <p:spPr bwMode="gray">
            <a:xfrm>
              <a:off x="1746605" y="4061130"/>
              <a:ext cx="41480" cy="21405"/>
            </a:xfrm>
            <a:custGeom>
              <a:avLst/>
              <a:gdLst>
                <a:gd name="T0" fmla="*/ 8 w 38"/>
                <a:gd name="T1" fmla="*/ 0 h 20"/>
                <a:gd name="T2" fmla="*/ 16 w 38"/>
                <a:gd name="T3" fmla="*/ 0 h 20"/>
                <a:gd name="T4" fmla="*/ 24 w 38"/>
                <a:gd name="T5" fmla="*/ 0 h 20"/>
                <a:gd name="T6" fmla="*/ 24 w 38"/>
                <a:gd name="T7" fmla="*/ 2 h 20"/>
                <a:gd name="T8" fmla="*/ 28 w 38"/>
                <a:gd name="T9" fmla="*/ 6 h 20"/>
                <a:gd name="T10" fmla="*/ 32 w 38"/>
                <a:gd name="T11" fmla="*/ 8 h 20"/>
                <a:gd name="T12" fmla="*/ 36 w 38"/>
                <a:gd name="T13" fmla="*/ 12 h 20"/>
                <a:gd name="T14" fmla="*/ 38 w 38"/>
                <a:gd name="T15" fmla="*/ 16 h 20"/>
                <a:gd name="T16" fmla="*/ 32 w 38"/>
                <a:gd name="T17" fmla="*/ 20 h 20"/>
                <a:gd name="T18" fmla="*/ 24 w 38"/>
                <a:gd name="T19" fmla="*/ 20 h 20"/>
                <a:gd name="T20" fmla="*/ 16 w 38"/>
                <a:gd name="T21" fmla="*/ 18 h 20"/>
                <a:gd name="T22" fmla="*/ 14 w 38"/>
                <a:gd name="T23" fmla="*/ 16 h 20"/>
                <a:gd name="T24" fmla="*/ 10 w 38"/>
                <a:gd name="T25" fmla="*/ 16 h 20"/>
                <a:gd name="T26" fmla="*/ 4 w 38"/>
                <a:gd name="T27" fmla="*/ 14 h 20"/>
                <a:gd name="T28" fmla="*/ 2 w 38"/>
                <a:gd name="T29" fmla="*/ 12 h 20"/>
                <a:gd name="T30" fmla="*/ 0 w 38"/>
                <a:gd name="T31" fmla="*/ 6 h 20"/>
                <a:gd name="T32" fmla="*/ 2 w 38"/>
                <a:gd name="T33" fmla="*/ 4 h 20"/>
                <a:gd name="T34" fmla="*/ 8 w 38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20">
                  <a:moveTo>
                    <a:pt x="8" y="0"/>
                  </a:moveTo>
                  <a:lnTo>
                    <a:pt x="16" y="0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8" y="6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8" y="16"/>
                  </a:lnTo>
                  <a:lnTo>
                    <a:pt x="32" y="20"/>
                  </a:lnTo>
                  <a:lnTo>
                    <a:pt x="24" y="20"/>
                  </a:lnTo>
                  <a:lnTo>
                    <a:pt x="16" y="18"/>
                  </a:lnTo>
                  <a:lnTo>
                    <a:pt x="14" y="16"/>
                  </a:lnTo>
                  <a:lnTo>
                    <a:pt x="10" y="16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6"/>
                  </a:lnTo>
                  <a:lnTo>
                    <a:pt x="2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1" name="Freeform 46"/>
            <p:cNvSpPr>
              <a:spLocks/>
            </p:cNvSpPr>
            <p:nvPr/>
          </p:nvSpPr>
          <p:spPr bwMode="gray">
            <a:xfrm>
              <a:off x="1136536" y="4107951"/>
              <a:ext cx="921913" cy="881626"/>
            </a:xfrm>
            <a:custGeom>
              <a:avLst/>
              <a:gdLst>
                <a:gd name="T0" fmla="*/ 718 w 842"/>
                <a:gd name="T1" fmla="*/ 774 h 846"/>
                <a:gd name="T2" fmla="*/ 670 w 842"/>
                <a:gd name="T3" fmla="*/ 790 h 846"/>
                <a:gd name="T4" fmla="*/ 618 w 842"/>
                <a:gd name="T5" fmla="*/ 766 h 846"/>
                <a:gd name="T6" fmla="*/ 602 w 842"/>
                <a:gd name="T7" fmla="*/ 756 h 846"/>
                <a:gd name="T8" fmla="*/ 558 w 842"/>
                <a:gd name="T9" fmla="*/ 752 h 846"/>
                <a:gd name="T10" fmla="*/ 494 w 842"/>
                <a:gd name="T11" fmla="*/ 760 h 846"/>
                <a:gd name="T12" fmla="*/ 454 w 842"/>
                <a:gd name="T13" fmla="*/ 828 h 846"/>
                <a:gd name="T14" fmla="*/ 424 w 842"/>
                <a:gd name="T15" fmla="*/ 840 h 846"/>
                <a:gd name="T16" fmla="*/ 370 w 842"/>
                <a:gd name="T17" fmla="*/ 836 h 846"/>
                <a:gd name="T18" fmla="*/ 348 w 842"/>
                <a:gd name="T19" fmla="*/ 814 h 846"/>
                <a:gd name="T20" fmla="*/ 312 w 842"/>
                <a:gd name="T21" fmla="*/ 794 h 846"/>
                <a:gd name="T22" fmla="*/ 228 w 842"/>
                <a:gd name="T23" fmla="*/ 790 h 846"/>
                <a:gd name="T24" fmla="*/ 168 w 842"/>
                <a:gd name="T25" fmla="*/ 756 h 846"/>
                <a:gd name="T26" fmla="*/ 138 w 842"/>
                <a:gd name="T27" fmla="*/ 720 h 846"/>
                <a:gd name="T28" fmla="*/ 156 w 842"/>
                <a:gd name="T29" fmla="*/ 648 h 846"/>
                <a:gd name="T30" fmla="*/ 184 w 842"/>
                <a:gd name="T31" fmla="*/ 580 h 846"/>
                <a:gd name="T32" fmla="*/ 194 w 842"/>
                <a:gd name="T33" fmla="*/ 506 h 846"/>
                <a:gd name="T34" fmla="*/ 218 w 842"/>
                <a:gd name="T35" fmla="*/ 524 h 846"/>
                <a:gd name="T36" fmla="*/ 192 w 842"/>
                <a:gd name="T37" fmla="*/ 478 h 846"/>
                <a:gd name="T38" fmla="*/ 194 w 842"/>
                <a:gd name="T39" fmla="*/ 466 h 846"/>
                <a:gd name="T40" fmla="*/ 200 w 842"/>
                <a:gd name="T41" fmla="*/ 436 h 846"/>
                <a:gd name="T42" fmla="*/ 180 w 842"/>
                <a:gd name="T43" fmla="*/ 416 h 846"/>
                <a:gd name="T44" fmla="*/ 146 w 842"/>
                <a:gd name="T45" fmla="*/ 360 h 846"/>
                <a:gd name="T46" fmla="*/ 154 w 842"/>
                <a:gd name="T47" fmla="*/ 346 h 846"/>
                <a:gd name="T48" fmla="*/ 136 w 842"/>
                <a:gd name="T49" fmla="*/ 324 h 846"/>
                <a:gd name="T50" fmla="*/ 112 w 842"/>
                <a:gd name="T51" fmla="*/ 296 h 846"/>
                <a:gd name="T52" fmla="*/ 58 w 842"/>
                <a:gd name="T53" fmla="*/ 258 h 846"/>
                <a:gd name="T54" fmla="*/ 18 w 842"/>
                <a:gd name="T55" fmla="*/ 250 h 846"/>
                <a:gd name="T56" fmla="*/ 16 w 842"/>
                <a:gd name="T57" fmla="*/ 220 h 846"/>
                <a:gd name="T58" fmla="*/ 18 w 842"/>
                <a:gd name="T59" fmla="*/ 202 h 846"/>
                <a:gd name="T60" fmla="*/ 8 w 842"/>
                <a:gd name="T61" fmla="*/ 176 h 846"/>
                <a:gd name="T62" fmla="*/ 82 w 842"/>
                <a:gd name="T63" fmla="*/ 176 h 846"/>
                <a:gd name="T64" fmla="*/ 120 w 842"/>
                <a:gd name="T65" fmla="*/ 172 h 846"/>
                <a:gd name="T66" fmla="*/ 162 w 842"/>
                <a:gd name="T67" fmla="*/ 192 h 846"/>
                <a:gd name="T68" fmla="*/ 198 w 842"/>
                <a:gd name="T69" fmla="*/ 202 h 846"/>
                <a:gd name="T70" fmla="*/ 216 w 842"/>
                <a:gd name="T71" fmla="*/ 142 h 846"/>
                <a:gd name="T72" fmla="*/ 222 w 842"/>
                <a:gd name="T73" fmla="*/ 104 h 846"/>
                <a:gd name="T74" fmla="*/ 242 w 842"/>
                <a:gd name="T75" fmla="*/ 116 h 846"/>
                <a:gd name="T76" fmla="*/ 268 w 842"/>
                <a:gd name="T77" fmla="*/ 138 h 846"/>
                <a:gd name="T78" fmla="*/ 336 w 842"/>
                <a:gd name="T79" fmla="*/ 138 h 846"/>
                <a:gd name="T80" fmla="*/ 394 w 842"/>
                <a:gd name="T81" fmla="*/ 104 h 846"/>
                <a:gd name="T82" fmla="*/ 454 w 842"/>
                <a:gd name="T83" fmla="*/ 8 h 846"/>
                <a:gd name="T84" fmla="*/ 522 w 842"/>
                <a:gd name="T85" fmla="*/ 32 h 846"/>
                <a:gd name="T86" fmla="*/ 584 w 842"/>
                <a:gd name="T87" fmla="*/ 78 h 846"/>
                <a:gd name="T88" fmla="*/ 620 w 842"/>
                <a:gd name="T89" fmla="*/ 118 h 846"/>
                <a:gd name="T90" fmla="*/ 642 w 842"/>
                <a:gd name="T91" fmla="*/ 136 h 846"/>
                <a:gd name="T92" fmla="*/ 710 w 842"/>
                <a:gd name="T93" fmla="*/ 168 h 846"/>
                <a:gd name="T94" fmla="*/ 766 w 842"/>
                <a:gd name="T95" fmla="*/ 202 h 846"/>
                <a:gd name="T96" fmla="*/ 826 w 842"/>
                <a:gd name="T97" fmla="*/ 244 h 846"/>
                <a:gd name="T98" fmla="*/ 790 w 842"/>
                <a:gd name="T99" fmla="*/ 362 h 846"/>
                <a:gd name="T100" fmla="*/ 738 w 842"/>
                <a:gd name="T101" fmla="*/ 408 h 846"/>
                <a:gd name="T102" fmla="*/ 684 w 842"/>
                <a:gd name="T103" fmla="*/ 486 h 846"/>
                <a:gd name="T104" fmla="*/ 742 w 842"/>
                <a:gd name="T105" fmla="*/ 480 h 846"/>
                <a:gd name="T106" fmla="*/ 742 w 842"/>
                <a:gd name="T107" fmla="*/ 542 h 846"/>
                <a:gd name="T108" fmla="*/ 742 w 842"/>
                <a:gd name="T109" fmla="*/ 594 h 846"/>
                <a:gd name="T110" fmla="*/ 752 w 842"/>
                <a:gd name="T111" fmla="*/ 634 h 846"/>
                <a:gd name="T112" fmla="*/ 794 w 842"/>
                <a:gd name="T113" fmla="*/ 702 h 846"/>
                <a:gd name="T114" fmla="*/ 776 w 842"/>
                <a:gd name="T115" fmla="*/ 728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42" h="846">
                  <a:moveTo>
                    <a:pt x="768" y="740"/>
                  </a:moveTo>
                  <a:lnTo>
                    <a:pt x="758" y="740"/>
                  </a:lnTo>
                  <a:lnTo>
                    <a:pt x="752" y="750"/>
                  </a:lnTo>
                  <a:lnTo>
                    <a:pt x="742" y="752"/>
                  </a:lnTo>
                  <a:lnTo>
                    <a:pt x="734" y="764"/>
                  </a:lnTo>
                  <a:lnTo>
                    <a:pt x="724" y="764"/>
                  </a:lnTo>
                  <a:lnTo>
                    <a:pt x="718" y="774"/>
                  </a:lnTo>
                  <a:lnTo>
                    <a:pt x="714" y="786"/>
                  </a:lnTo>
                  <a:lnTo>
                    <a:pt x="704" y="786"/>
                  </a:lnTo>
                  <a:lnTo>
                    <a:pt x="696" y="790"/>
                  </a:lnTo>
                  <a:lnTo>
                    <a:pt x="696" y="792"/>
                  </a:lnTo>
                  <a:lnTo>
                    <a:pt x="682" y="792"/>
                  </a:lnTo>
                  <a:lnTo>
                    <a:pt x="676" y="796"/>
                  </a:lnTo>
                  <a:lnTo>
                    <a:pt x="670" y="790"/>
                  </a:lnTo>
                  <a:lnTo>
                    <a:pt x="664" y="794"/>
                  </a:lnTo>
                  <a:lnTo>
                    <a:pt x="654" y="794"/>
                  </a:lnTo>
                  <a:lnTo>
                    <a:pt x="650" y="786"/>
                  </a:lnTo>
                  <a:lnTo>
                    <a:pt x="638" y="780"/>
                  </a:lnTo>
                  <a:lnTo>
                    <a:pt x="624" y="780"/>
                  </a:lnTo>
                  <a:lnTo>
                    <a:pt x="622" y="766"/>
                  </a:lnTo>
                  <a:lnTo>
                    <a:pt x="618" y="766"/>
                  </a:lnTo>
                  <a:lnTo>
                    <a:pt x="606" y="764"/>
                  </a:lnTo>
                  <a:lnTo>
                    <a:pt x="600" y="760"/>
                  </a:lnTo>
                  <a:lnTo>
                    <a:pt x="608" y="758"/>
                  </a:lnTo>
                  <a:lnTo>
                    <a:pt x="612" y="754"/>
                  </a:lnTo>
                  <a:lnTo>
                    <a:pt x="610" y="748"/>
                  </a:lnTo>
                  <a:lnTo>
                    <a:pt x="602" y="746"/>
                  </a:lnTo>
                  <a:lnTo>
                    <a:pt x="602" y="756"/>
                  </a:lnTo>
                  <a:lnTo>
                    <a:pt x="594" y="758"/>
                  </a:lnTo>
                  <a:lnTo>
                    <a:pt x="588" y="760"/>
                  </a:lnTo>
                  <a:lnTo>
                    <a:pt x="578" y="756"/>
                  </a:lnTo>
                  <a:lnTo>
                    <a:pt x="576" y="762"/>
                  </a:lnTo>
                  <a:lnTo>
                    <a:pt x="568" y="758"/>
                  </a:lnTo>
                  <a:lnTo>
                    <a:pt x="566" y="752"/>
                  </a:lnTo>
                  <a:lnTo>
                    <a:pt x="558" y="752"/>
                  </a:lnTo>
                  <a:lnTo>
                    <a:pt x="548" y="746"/>
                  </a:lnTo>
                  <a:lnTo>
                    <a:pt x="542" y="748"/>
                  </a:lnTo>
                  <a:lnTo>
                    <a:pt x="538" y="740"/>
                  </a:lnTo>
                  <a:lnTo>
                    <a:pt x="528" y="740"/>
                  </a:lnTo>
                  <a:lnTo>
                    <a:pt x="518" y="744"/>
                  </a:lnTo>
                  <a:lnTo>
                    <a:pt x="510" y="752"/>
                  </a:lnTo>
                  <a:lnTo>
                    <a:pt x="494" y="760"/>
                  </a:lnTo>
                  <a:lnTo>
                    <a:pt x="492" y="764"/>
                  </a:lnTo>
                  <a:lnTo>
                    <a:pt x="480" y="764"/>
                  </a:lnTo>
                  <a:lnTo>
                    <a:pt x="468" y="772"/>
                  </a:lnTo>
                  <a:lnTo>
                    <a:pt x="458" y="780"/>
                  </a:lnTo>
                  <a:lnTo>
                    <a:pt x="456" y="794"/>
                  </a:lnTo>
                  <a:lnTo>
                    <a:pt x="454" y="804"/>
                  </a:lnTo>
                  <a:lnTo>
                    <a:pt x="454" y="828"/>
                  </a:lnTo>
                  <a:lnTo>
                    <a:pt x="456" y="832"/>
                  </a:lnTo>
                  <a:lnTo>
                    <a:pt x="458" y="838"/>
                  </a:lnTo>
                  <a:lnTo>
                    <a:pt x="458" y="844"/>
                  </a:lnTo>
                  <a:lnTo>
                    <a:pt x="448" y="840"/>
                  </a:lnTo>
                  <a:lnTo>
                    <a:pt x="438" y="838"/>
                  </a:lnTo>
                  <a:lnTo>
                    <a:pt x="432" y="840"/>
                  </a:lnTo>
                  <a:lnTo>
                    <a:pt x="424" y="840"/>
                  </a:lnTo>
                  <a:lnTo>
                    <a:pt x="422" y="846"/>
                  </a:lnTo>
                  <a:lnTo>
                    <a:pt x="408" y="846"/>
                  </a:lnTo>
                  <a:lnTo>
                    <a:pt x="400" y="838"/>
                  </a:lnTo>
                  <a:lnTo>
                    <a:pt x="394" y="836"/>
                  </a:lnTo>
                  <a:lnTo>
                    <a:pt x="386" y="838"/>
                  </a:lnTo>
                  <a:lnTo>
                    <a:pt x="376" y="842"/>
                  </a:lnTo>
                  <a:lnTo>
                    <a:pt x="370" y="836"/>
                  </a:lnTo>
                  <a:lnTo>
                    <a:pt x="370" y="832"/>
                  </a:lnTo>
                  <a:lnTo>
                    <a:pt x="358" y="826"/>
                  </a:lnTo>
                  <a:lnTo>
                    <a:pt x="352" y="826"/>
                  </a:lnTo>
                  <a:lnTo>
                    <a:pt x="350" y="826"/>
                  </a:lnTo>
                  <a:lnTo>
                    <a:pt x="352" y="822"/>
                  </a:lnTo>
                  <a:lnTo>
                    <a:pt x="350" y="818"/>
                  </a:lnTo>
                  <a:lnTo>
                    <a:pt x="348" y="814"/>
                  </a:lnTo>
                  <a:lnTo>
                    <a:pt x="344" y="814"/>
                  </a:lnTo>
                  <a:lnTo>
                    <a:pt x="338" y="816"/>
                  </a:lnTo>
                  <a:lnTo>
                    <a:pt x="336" y="820"/>
                  </a:lnTo>
                  <a:lnTo>
                    <a:pt x="334" y="806"/>
                  </a:lnTo>
                  <a:lnTo>
                    <a:pt x="328" y="800"/>
                  </a:lnTo>
                  <a:lnTo>
                    <a:pt x="318" y="800"/>
                  </a:lnTo>
                  <a:lnTo>
                    <a:pt x="312" y="794"/>
                  </a:lnTo>
                  <a:lnTo>
                    <a:pt x="298" y="788"/>
                  </a:lnTo>
                  <a:lnTo>
                    <a:pt x="284" y="782"/>
                  </a:lnTo>
                  <a:lnTo>
                    <a:pt x="280" y="786"/>
                  </a:lnTo>
                  <a:lnTo>
                    <a:pt x="282" y="798"/>
                  </a:lnTo>
                  <a:lnTo>
                    <a:pt x="262" y="798"/>
                  </a:lnTo>
                  <a:lnTo>
                    <a:pt x="260" y="794"/>
                  </a:lnTo>
                  <a:lnTo>
                    <a:pt x="228" y="790"/>
                  </a:lnTo>
                  <a:lnTo>
                    <a:pt x="214" y="774"/>
                  </a:lnTo>
                  <a:lnTo>
                    <a:pt x="208" y="776"/>
                  </a:lnTo>
                  <a:lnTo>
                    <a:pt x="194" y="778"/>
                  </a:lnTo>
                  <a:lnTo>
                    <a:pt x="184" y="764"/>
                  </a:lnTo>
                  <a:lnTo>
                    <a:pt x="184" y="758"/>
                  </a:lnTo>
                  <a:lnTo>
                    <a:pt x="176" y="760"/>
                  </a:lnTo>
                  <a:lnTo>
                    <a:pt x="168" y="756"/>
                  </a:lnTo>
                  <a:lnTo>
                    <a:pt x="150" y="744"/>
                  </a:lnTo>
                  <a:lnTo>
                    <a:pt x="148" y="738"/>
                  </a:lnTo>
                  <a:lnTo>
                    <a:pt x="140" y="742"/>
                  </a:lnTo>
                  <a:lnTo>
                    <a:pt x="132" y="742"/>
                  </a:lnTo>
                  <a:lnTo>
                    <a:pt x="134" y="734"/>
                  </a:lnTo>
                  <a:lnTo>
                    <a:pt x="140" y="726"/>
                  </a:lnTo>
                  <a:lnTo>
                    <a:pt x="138" y="720"/>
                  </a:lnTo>
                  <a:lnTo>
                    <a:pt x="130" y="720"/>
                  </a:lnTo>
                  <a:lnTo>
                    <a:pt x="126" y="718"/>
                  </a:lnTo>
                  <a:lnTo>
                    <a:pt x="114" y="708"/>
                  </a:lnTo>
                  <a:lnTo>
                    <a:pt x="126" y="706"/>
                  </a:lnTo>
                  <a:lnTo>
                    <a:pt x="136" y="692"/>
                  </a:lnTo>
                  <a:lnTo>
                    <a:pt x="146" y="670"/>
                  </a:lnTo>
                  <a:lnTo>
                    <a:pt x="156" y="648"/>
                  </a:lnTo>
                  <a:lnTo>
                    <a:pt x="164" y="626"/>
                  </a:lnTo>
                  <a:lnTo>
                    <a:pt x="170" y="606"/>
                  </a:lnTo>
                  <a:lnTo>
                    <a:pt x="170" y="598"/>
                  </a:lnTo>
                  <a:lnTo>
                    <a:pt x="174" y="588"/>
                  </a:lnTo>
                  <a:lnTo>
                    <a:pt x="180" y="588"/>
                  </a:lnTo>
                  <a:lnTo>
                    <a:pt x="184" y="586"/>
                  </a:lnTo>
                  <a:lnTo>
                    <a:pt x="184" y="580"/>
                  </a:lnTo>
                  <a:lnTo>
                    <a:pt x="178" y="582"/>
                  </a:lnTo>
                  <a:lnTo>
                    <a:pt x="176" y="576"/>
                  </a:lnTo>
                  <a:lnTo>
                    <a:pt x="180" y="552"/>
                  </a:lnTo>
                  <a:lnTo>
                    <a:pt x="188" y="526"/>
                  </a:lnTo>
                  <a:lnTo>
                    <a:pt x="190" y="518"/>
                  </a:lnTo>
                  <a:lnTo>
                    <a:pt x="190" y="510"/>
                  </a:lnTo>
                  <a:lnTo>
                    <a:pt x="194" y="506"/>
                  </a:lnTo>
                  <a:lnTo>
                    <a:pt x="198" y="504"/>
                  </a:lnTo>
                  <a:lnTo>
                    <a:pt x="200" y="508"/>
                  </a:lnTo>
                  <a:lnTo>
                    <a:pt x="204" y="514"/>
                  </a:lnTo>
                  <a:lnTo>
                    <a:pt x="210" y="520"/>
                  </a:lnTo>
                  <a:lnTo>
                    <a:pt x="214" y="528"/>
                  </a:lnTo>
                  <a:lnTo>
                    <a:pt x="218" y="530"/>
                  </a:lnTo>
                  <a:lnTo>
                    <a:pt x="218" y="524"/>
                  </a:lnTo>
                  <a:lnTo>
                    <a:pt x="216" y="514"/>
                  </a:lnTo>
                  <a:lnTo>
                    <a:pt x="208" y="504"/>
                  </a:lnTo>
                  <a:lnTo>
                    <a:pt x="200" y="496"/>
                  </a:lnTo>
                  <a:lnTo>
                    <a:pt x="194" y="492"/>
                  </a:lnTo>
                  <a:lnTo>
                    <a:pt x="190" y="488"/>
                  </a:lnTo>
                  <a:lnTo>
                    <a:pt x="188" y="482"/>
                  </a:lnTo>
                  <a:lnTo>
                    <a:pt x="192" y="478"/>
                  </a:lnTo>
                  <a:lnTo>
                    <a:pt x="192" y="472"/>
                  </a:lnTo>
                  <a:lnTo>
                    <a:pt x="186" y="466"/>
                  </a:lnTo>
                  <a:lnTo>
                    <a:pt x="182" y="462"/>
                  </a:lnTo>
                  <a:lnTo>
                    <a:pt x="184" y="458"/>
                  </a:lnTo>
                  <a:lnTo>
                    <a:pt x="188" y="456"/>
                  </a:lnTo>
                  <a:lnTo>
                    <a:pt x="192" y="460"/>
                  </a:lnTo>
                  <a:lnTo>
                    <a:pt x="194" y="466"/>
                  </a:lnTo>
                  <a:lnTo>
                    <a:pt x="194" y="470"/>
                  </a:lnTo>
                  <a:lnTo>
                    <a:pt x="202" y="472"/>
                  </a:lnTo>
                  <a:lnTo>
                    <a:pt x="204" y="466"/>
                  </a:lnTo>
                  <a:lnTo>
                    <a:pt x="204" y="456"/>
                  </a:lnTo>
                  <a:lnTo>
                    <a:pt x="202" y="446"/>
                  </a:lnTo>
                  <a:lnTo>
                    <a:pt x="198" y="442"/>
                  </a:lnTo>
                  <a:lnTo>
                    <a:pt x="200" y="436"/>
                  </a:lnTo>
                  <a:lnTo>
                    <a:pt x="206" y="434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198" y="434"/>
                  </a:lnTo>
                  <a:lnTo>
                    <a:pt x="194" y="428"/>
                  </a:lnTo>
                  <a:lnTo>
                    <a:pt x="184" y="420"/>
                  </a:lnTo>
                  <a:lnTo>
                    <a:pt x="180" y="416"/>
                  </a:lnTo>
                  <a:lnTo>
                    <a:pt x="172" y="410"/>
                  </a:lnTo>
                  <a:lnTo>
                    <a:pt x="164" y="402"/>
                  </a:lnTo>
                  <a:lnTo>
                    <a:pt x="160" y="388"/>
                  </a:lnTo>
                  <a:lnTo>
                    <a:pt x="154" y="378"/>
                  </a:lnTo>
                  <a:lnTo>
                    <a:pt x="148" y="372"/>
                  </a:lnTo>
                  <a:lnTo>
                    <a:pt x="146" y="364"/>
                  </a:lnTo>
                  <a:lnTo>
                    <a:pt x="146" y="360"/>
                  </a:lnTo>
                  <a:lnTo>
                    <a:pt x="142" y="356"/>
                  </a:lnTo>
                  <a:lnTo>
                    <a:pt x="144" y="352"/>
                  </a:lnTo>
                  <a:lnTo>
                    <a:pt x="148" y="358"/>
                  </a:lnTo>
                  <a:lnTo>
                    <a:pt x="152" y="360"/>
                  </a:lnTo>
                  <a:lnTo>
                    <a:pt x="158" y="354"/>
                  </a:lnTo>
                  <a:lnTo>
                    <a:pt x="158" y="350"/>
                  </a:lnTo>
                  <a:lnTo>
                    <a:pt x="154" y="346"/>
                  </a:lnTo>
                  <a:lnTo>
                    <a:pt x="150" y="342"/>
                  </a:lnTo>
                  <a:lnTo>
                    <a:pt x="146" y="336"/>
                  </a:lnTo>
                  <a:lnTo>
                    <a:pt x="150" y="332"/>
                  </a:lnTo>
                  <a:lnTo>
                    <a:pt x="150" y="326"/>
                  </a:lnTo>
                  <a:lnTo>
                    <a:pt x="146" y="326"/>
                  </a:lnTo>
                  <a:lnTo>
                    <a:pt x="142" y="328"/>
                  </a:lnTo>
                  <a:lnTo>
                    <a:pt x="136" y="324"/>
                  </a:lnTo>
                  <a:lnTo>
                    <a:pt x="130" y="318"/>
                  </a:lnTo>
                  <a:lnTo>
                    <a:pt x="128" y="312"/>
                  </a:lnTo>
                  <a:lnTo>
                    <a:pt x="132" y="308"/>
                  </a:lnTo>
                  <a:lnTo>
                    <a:pt x="134" y="300"/>
                  </a:lnTo>
                  <a:lnTo>
                    <a:pt x="128" y="298"/>
                  </a:lnTo>
                  <a:lnTo>
                    <a:pt x="118" y="298"/>
                  </a:lnTo>
                  <a:lnTo>
                    <a:pt x="112" y="296"/>
                  </a:lnTo>
                  <a:lnTo>
                    <a:pt x="106" y="288"/>
                  </a:lnTo>
                  <a:lnTo>
                    <a:pt x="100" y="288"/>
                  </a:lnTo>
                  <a:lnTo>
                    <a:pt x="94" y="288"/>
                  </a:lnTo>
                  <a:lnTo>
                    <a:pt x="86" y="276"/>
                  </a:lnTo>
                  <a:lnTo>
                    <a:pt x="78" y="270"/>
                  </a:lnTo>
                  <a:lnTo>
                    <a:pt x="68" y="264"/>
                  </a:lnTo>
                  <a:lnTo>
                    <a:pt x="58" y="258"/>
                  </a:lnTo>
                  <a:lnTo>
                    <a:pt x="50" y="258"/>
                  </a:lnTo>
                  <a:lnTo>
                    <a:pt x="46" y="248"/>
                  </a:lnTo>
                  <a:lnTo>
                    <a:pt x="36" y="248"/>
                  </a:lnTo>
                  <a:lnTo>
                    <a:pt x="32" y="248"/>
                  </a:lnTo>
                  <a:lnTo>
                    <a:pt x="30" y="252"/>
                  </a:lnTo>
                  <a:lnTo>
                    <a:pt x="24" y="254"/>
                  </a:lnTo>
                  <a:lnTo>
                    <a:pt x="18" y="250"/>
                  </a:lnTo>
                  <a:lnTo>
                    <a:pt x="16" y="240"/>
                  </a:lnTo>
                  <a:lnTo>
                    <a:pt x="14" y="232"/>
                  </a:lnTo>
                  <a:lnTo>
                    <a:pt x="10" y="228"/>
                  </a:lnTo>
                  <a:lnTo>
                    <a:pt x="2" y="228"/>
                  </a:lnTo>
                  <a:lnTo>
                    <a:pt x="0" y="224"/>
                  </a:lnTo>
                  <a:lnTo>
                    <a:pt x="2" y="220"/>
                  </a:lnTo>
                  <a:lnTo>
                    <a:pt x="16" y="220"/>
                  </a:lnTo>
                  <a:lnTo>
                    <a:pt x="22" y="222"/>
                  </a:lnTo>
                  <a:lnTo>
                    <a:pt x="28" y="222"/>
                  </a:lnTo>
                  <a:lnTo>
                    <a:pt x="28" y="216"/>
                  </a:lnTo>
                  <a:lnTo>
                    <a:pt x="24" y="212"/>
                  </a:lnTo>
                  <a:lnTo>
                    <a:pt x="18" y="208"/>
                  </a:lnTo>
                  <a:lnTo>
                    <a:pt x="16" y="206"/>
                  </a:lnTo>
                  <a:lnTo>
                    <a:pt x="18" y="202"/>
                  </a:lnTo>
                  <a:lnTo>
                    <a:pt x="22" y="200"/>
                  </a:lnTo>
                  <a:lnTo>
                    <a:pt x="20" y="196"/>
                  </a:lnTo>
                  <a:lnTo>
                    <a:pt x="18" y="196"/>
                  </a:lnTo>
                  <a:lnTo>
                    <a:pt x="10" y="200"/>
                  </a:lnTo>
                  <a:lnTo>
                    <a:pt x="4" y="194"/>
                  </a:lnTo>
                  <a:lnTo>
                    <a:pt x="4" y="186"/>
                  </a:lnTo>
                  <a:lnTo>
                    <a:pt x="8" y="176"/>
                  </a:lnTo>
                  <a:lnTo>
                    <a:pt x="24" y="168"/>
                  </a:lnTo>
                  <a:lnTo>
                    <a:pt x="44" y="170"/>
                  </a:lnTo>
                  <a:lnTo>
                    <a:pt x="58" y="166"/>
                  </a:lnTo>
                  <a:lnTo>
                    <a:pt x="64" y="172"/>
                  </a:lnTo>
                  <a:lnTo>
                    <a:pt x="70" y="170"/>
                  </a:lnTo>
                  <a:lnTo>
                    <a:pt x="76" y="174"/>
                  </a:lnTo>
                  <a:lnTo>
                    <a:pt x="82" y="176"/>
                  </a:lnTo>
                  <a:lnTo>
                    <a:pt x="84" y="170"/>
                  </a:lnTo>
                  <a:lnTo>
                    <a:pt x="86" y="164"/>
                  </a:lnTo>
                  <a:lnTo>
                    <a:pt x="94" y="164"/>
                  </a:lnTo>
                  <a:lnTo>
                    <a:pt x="102" y="164"/>
                  </a:lnTo>
                  <a:lnTo>
                    <a:pt x="108" y="166"/>
                  </a:lnTo>
                  <a:lnTo>
                    <a:pt x="114" y="166"/>
                  </a:lnTo>
                  <a:lnTo>
                    <a:pt x="120" y="172"/>
                  </a:lnTo>
                  <a:lnTo>
                    <a:pt x="128" y="184"/>
                  </a:lnTo>
                  <a:lnTo>
                    <a:pt x="130" y="190"/>
                  </a:lnTo>
                  <a:lnTo>
                    <a:pt x="134" y="198"/>
                  </a:lnTo>
                  <a:lnTo>
                    <a:pt x="140" y="202"/>
                  </a:lnTo>
                  <a:lnTo>
                    <a:pt x="148" y="196"/>
                  </a:lnTo>
                  <a:lnTo>
                    <a:pt x="152" y="192"/>
                  </a:lnTo>
                  <a:lnTo>
                    <a:pt x="162" y="192"/>
                  </a:lnTo>
                  <a:lnTo>
                    <a:pt x="164" y="190"/>
                  </a:lnTo>
                  <a:lnTo>
                    <a:pt x="166" y="194"/>
                  </a:lnTo>
                  <a:lnTo>
                    <a:pt x="178" y="200"/>
                  </a:lnTo>
                  <a:lnTo>
                    <a:pt x="184" y="196"/>
                  </a:lnTo>
                  <a:lnTo>
                    <a:pt x="194" y="192"/>
                  </a:lnTo>
                  <a:lnTo>
                    <a:pt x="194" y="198"/>
                  </a:lnTo>
                  <a:lnTo>
                    <a:pt x="198" y="202"/>
                  </a:lnTo>
                  <a:lnTo>
                    <a:pt x="204" y="204"/>
                  </a:lnTo>
                  <a:lnTo>
                    <a:pt x="218" y="206"/>
                  </a:lnTo>
                  <a:lnTo>
                    <a:pt x="218" y="198"/>
                  </a:lnTo>
                  <a:lnTo>
                    <a:pt x="214" y="192"/>
                  </a:lnTo>
                  <a:lnTo>
                    <a:pt x="214" y="176"/>
                  </a:lnTo>
                  <a:lnTo>
                    <a:pt x="218" y="160"/>
                  </a:lnTo>
                  <a:lnTo>
                    <a:pt x="216" y="142"/>
                  </a:lnTo>
                  <a:lnTo>
                    <a:pt x="214" y="134"/>
                  </a:lnTo>
                  <a:lnTo>
                    <a:pt x="208" y="128"/>
                  </a:lnTo>
                  <a:lnTo>
                    <a:pt x="206" y="116"/>
                  </a:lnTo>
                  <a:lnTo>
                    <a:pt x="206" y="104"/>
                  </a:lnTo>
                  <a:lnTo>
                    <a:pt x="206" y="96"/>
                  </a:lnTo>
                  <a:lnTo>
                    <a:pt x="214" y="98"/>
                  </a:lnTo>
                  <a:lnTo>
                    <a:pt x="222" y="104"/>
                  </a:lnTo>
                  <a:lnTo>
                    <a:pt x="228" y="106"/>
                  </a:lnTo>
                  <a:lnTo>
                    <a:pt x="234" y="100"/>
                  </a:lnTo>
                  <a:lnTo>
                    <a:pt x="240" y="100"/>
                  </a:lnTo>
                  <a:lnTo>
                    <a:pt x="244" y="104"/>
                  </a:lnTo>
                  <a:lnTo>
                    <a:pt x="248" y="110"/>
                  </a:lnTo>
                  <a:lnTo>
                    <a:pt x="246" y="116"/>
                  </a:lnTo>
                  <a:lnTo>
                    <a:pt x="242" y="116"/>
                  </a:lnTo>
                  <a:lnTo>
                    <a:pt x="242" y="122"/>
                  </a:lnTo>
                  <a:lnTo>
                    <a:pt x="246" y="126"/>
                  </a:lnTo>
                  <a:lnTo>
                    <a:pt x="246" y="132"/>
                  </a:lnTo>
                  <a:lnTo>
                    <a:pt x="248" y="138"/>
                  </a:lnTo>
                  <a:lnTo>
                    <a:pt x="252" y="138"/>
                  </a:lnTo>
                  <a:lnTo>
                    <a:pt x="260" y="136"/>
                  </a:lnTo>
                  <a:lnTo>
                    <a:pt x="268" y="138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300" y="150"/>
                  </a:lnTo>
                  <a:lnTo>
                    <a:pt x="318" y="154"/>
                  </a:lnTo>
                  <a:lnTo>
                    <a:pt x="326" y="148"/>
                  </a:lnTo>
                  <a:lnTo>
                    <a:pt x="336" y="142"/>
                  </a:lnTo>
                  <a:lnTo>
                    <a:pt x="336" y="138"/>
                  </a:lnTo>
                  <a:lnTo>
                    <a:pt x="332" y="136"/>
                  </a:lnTo>
                  <a:lnTo>
                    <a:pt x="330" y="130"/>
                  </a:lnTo>
                  <a:lnTo>
                    <a:pt x="334" y="120"/>
                  </a:lnTo>
                  <a:lnTo>
                    <a:pt x="340" y="114"/>
                  </a:lnTo>
                  <a:lnTo>
                    <a:pt x="354" y="110"/>
                  </a:lnTo>
                  <a:lnTo>
                    <a:pt x="366" y="102"/>
                  </a:lnTo>
                  <a:lnTo>
                    <a:pt x="394" y="104"/>
                  </a:lnTo>
                  <a:lnTo>
                    <a:pt x="408" y="98"/>
                  </a:lnTo>
                  <a:lnTo>
                    <a:pt x="420" y="88"/>
                  </a:lnTo>
                  <a:lnTo>
                    <a:pt x="430" y="74"/>
                  </a:lnTo>
                  <a:lnTo>
                    <a:pt x="432" y="52"/>
                  </a:lnTo>
                  <a:lnTo>
                    <a:pt x="436" y="28"/>
                  </a:lnTo>
                  <a:lnTo>
                    <a:pt x="438" y="16"/>
                  </a:lnTo>
                  <a:lnTo>
                    <a:pt x="454" y="8"/>
                  </a:lnTo>
                  <a:lnTo>
                    <a:pt x="476" y="4"/>
                  </a:lnTo>
                  <a:lnTo>
                    <a:pt x="500" y="0"/>
                  </a:lnTo>
                  <a:lnTo>
                    <a:pt x="500" y="4"/>
                  </a:lnTo>
                  <a:lnTo>
                    <a:pt x="502" y="8"/>
                  </a:lnTo>
                  <a:lnTo>
                    <a:pt x="502" y="12"/>
                  </a:lnTo>
                  <a:lnTo>
                    <a:pt x="512" y="22"/>
                  </a:lnTo>
                  <a:lnTo>
                    <a:pt x="522" y="32"/>
                  </a:lnTo>
                  <a:lnTo>
                    <a:pt x="534" y="34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4" y="58"/>
                  </a:lnTo>
                  <a:lnTo>
                    <a:pt x="564" y="68"/>
                  </a:lnTo>
                  <a:lnTo>
                    <a:pt x="564" y="78"/>
                  </a:lnTo>
                  <a:lnTo>
                    <a:pt x="584" y="78"/>
                  </a:lnTo>
                  <a:lnTo>
                    <a:pt x="594" y="88"/>
                  </a:lnTo>
                  <a:lnTo>
                    <a:pt x="590" y="94"/>
                  </a:lnTo>
                  <a:lnTo>
                    <a:pt x="596" y="104"/>
                  </a:lnTo>
                  <a:lnTo>
                    <a:pt x="590" y="110"/>
                  </a:lnTo>
                  <a:lnTo>
                    <a:pt x="592" y="118"/>
                  </a:lnTo>
                  <a:lnTo>
                    <a:pt x="610" y="120"/>
                  </a:lnTo>
                  <a:lnTo>
                    <a:pt x="620" y="118"/>
                  </a:lnTo>
                  <a:lnTo>
                    <a:pt x="624" y="112"/>
                  </a:lnTo>
                  <a:lnTo>
                    <a:pt x="624" y="106"/>
                  </a:lnTo>
                  <a:lnTo>
                    <a:pt x="632" y="100"/>
                  </a:lnTo>
                  <a:lnTo>
                    <a:pt x="636" y="108"/>
                  </a:lnTo>
                  <a:lnTo>
                    <a:pt x="630" y="116"/>
                  </a:lnTo>
                  <a:lnTo>
                    <a:pt x="632" y="134"/>
                  </a:lnTo>
                  <a:lnTo>
                    <a:pt x="642" y="136"/>
                  </a:lnTo>
                  <a:lnTo>
                    <a:pt x="664" y="152"/>
                  </a:lnTo>
                  <a:lnTo>
                    <a:pt x="670" y="164"/>
                  </a:lnTo>
                  <a:lnTo>
                    <a:pt x="692" y="166"/>
                  </a:lnTo>
                  <a:lnTo>
                    <a:pt x="696" y="170"/>
                  </a:lnTo>
                  <a:lnTo>
                    <a:pt x="702" y="174"/>
                  </a:lnTo>
                  <a:lnTo>
                    <a:pt x="706" y="172"/>
                  </a:lnTo>
                  <a:lnTo>
                    <a:pt x="710" y="168"/>
                  </a:lnTo>
                  <a:lnTo>
                    <a:pt x="718" y="168"/>
                  </a:lnTo>
                  <a:lnTo>
                    <a:pt x="724" y="170"/>
                  </a:lnTo>
                  <a:lnTo>
                    <a:pt x="736" y="176"/>
                  </a:lnTo>
                  <a:lnTo>
                    <a:pt x="738" y="188"/>
                  </a:lnTo>
                  <a:lnTo>
                    <a:pt x="752" y="204"/>
                  </a:lnTo>
                  <a:lnTo>
                    <a:pt x="754" y="198"/>
                  </a:lnTo>
                  <a:lnTo>
                    <a:pt x="766" y="202"/>
                  </a:lnTo>
                  <a:lnTo>
                    <a:pt x="766" y="208"/>
                  </a:lnTo>
                  <a:lnTo>
                    <a:pt x="778" y="210"/>
                  </a:lnTo>
                  <a:lnTo>
                    <a:pt x="794" y="208"/>
                  </a:lnTo>
                  <a:lnTo>
                    <a:pt x="802" y="216"/>
                  </a:lnTo>
                  <a:lnTo>
                    <a:pt x="824" y="218"/>
                  </a:lnTo>
                  <a:lnTo>
                    <a:pt x="842" y="226"/>
                  </a:lnTo>
                  <a:lnTo>
                    <a:pt x="826" y="244"/>
                  </a:lnTo>
                  <a:lnTo>
                    <a:pt x="814" y="258"/>
                  </a:lnTo>
                  <a:lnTo>
                    <a:pt x="808" y="284"/>
                  </a:lnTo>
                  <a:lnTo>
                    <a:pt x="798" y="308"/>
                  </a:lnTo>
                  <a:lnTo>
                    <a:pt x="802" y="318"/>
                  </a:lnTo>
                  <a:lnTo>
                    <a:pt x="794" y="332"/>
                  </a:lnTo>
                  <a:lnTo>
                    <a:pt x="796" y="354"/>
                  </a:lnTo>
                  <a:lnTo>
                    <a:pt x="790" y="362"/>
                  </a:lnTo>
                  <a:lnTo>
                    <a:pt x="784" y="372"/>
                  </a:lnTo>
                  <a:lnTo>
                    <a:pt x="770" y="372"/>
                  </a:lnTo>
                  <a:lnTo>
                    <a:pt x="768" y="366"/>
                  </a:lnTo>
                  <a:lnTo>
                    <a:pt x="758" y="368"/>
                  </a:lnTo>
                  <a:lnTo>
                    <a:pt x="756" y="382"/>
                  </a:lnTo>
                  <a:lnTo>
                    <a:pt x="742" y="390"/>
                  </a:lnTo>
                  <a:lnTo>
                    <a:pt x="738" y="408"/>
                  </a:lnTo>
                  <a:lnTo>
                    <a:pt x="722" y="418"/>
                  </a:lnTo>
                  <a:lnTo>
                    <a:pt x="718" y="436"/>
                  </a:lnTo>
                  <a:lnTo>
                    <a:pt x="698" y="450"/>
                  </a:lnTo>
                  <a:lnTo>
                    <a:pt x="692" y="462"/>
                  </a:lnTo>
                  <a:lnTo>
                    <a:pt x="698" y="470"/>
                  </a:lnTo>
                  <a:lnTo>
                    <a:pt x="692" y="482"/>
                  </a:lnTo>
                  <a:lnTo>
                    <a:pt x="684" y="486"/>
                  </a:lnTo>
                  <a:lnTo>
                    <a:pt x="684" y="492"/>
                  </a:lnTo>
                  <a:lnTo>
                    <a:pt x="692" y="494"/>
                  </a:lnTo>
                  <a:lnTo>
                    <a:pt x="706" y="484"/>
                  </a:lnTo>
                  <a:lnTo>
                    <a:pt x="708" y="476"/>
                  </a:lnTo>
                  <a:lnTo>
                    <a:pt x="718" y="470"/>
                  </a:lnTo>
                  <a:lnTo>
                    <a:pt x="730" y="472"/>
                  </a:lnTo>
                  <a:lnTo>
                    <a:pt x="742" y="480"/>
                  </a:lnTo>
                  <a:lnTo>
                    <a:pt x="740" y="498"/>
                  </a:lnTo>
                  <a:lnTo>
                    <a:pt x="750" y="506"/>
                  </a:lnTo>
                  <a:lnTo>
                    <a:pt x="754" y="520"/>
                  </a:lnTo>
                  <a:lnTo>
                    <a:pt x="752" y="526"/>
                  </a:lnTo>
                  <a:lnTo>
                    <a:pt x="742" y="524"/>
                  </a:lnTo>
                  <a:lnTo>
                    <a:pt x="734" y="532"/>
                  </a:lnTo>
                  <a:lnTo>
                    <a:pt x="742" y="542"/>
                  </a:lnTo>
                  <a:lnTo>
                    <a:pt x="748" y="546"/>
                  </a:lnTo>
                  <a:lnTo>
                    <a:pt x="750" y="560"/>
                  </a:lnTo>
                  <a:lnTo>
                    <a:pt x="762" y="570"/>
                  </a:lnTo>
                  <a:lnTo>
                    <a:pt x="756" y="576"/>
                  </a:lnTo>
                  <a:lnTo>
                    <a:pt x="756" y="586"/>
                  </a:lnTo>
                  <a:lnTo>
                    <a:pt x="748" y="586"/>
                  </a:lnTo>
                  <a:lnTo>
                    <a:pt x="742" y="594"/>
                  </a:lnTo>
                  <a:lnTo>
                    <a:pt x="732" y="592"/>
                  </a:lnTo>
                  <a:lnTo>
                    <a:pt x="724" y="598"/>
                  </a:lnTo>
                  <a:lnTo>
                    <a:pt x="730" y="608"/>
                  </a:lnTo>
                  <a:lnTo>
                    <a:pt x="730" y="614"/>
                  </a:lnTo>
                  <a:lnTo>
                    <a:pt x="734" y="620"/>
                  </a:lnTo>
                  <a:lnTo>
                    <a:pt x="748" y="622"/>
                  </a:lnTo>
                  <a:lnTo>
                    <a:pt x="752" y="634"/>
                  </a:lnTo>
                  <a:lnTo>
                    <a:pt x="736" y="650"/>
                  </a:lnTo>
                  <a:lnTo>
                    <a:pt x="740" y="662"/>
                  </a:lnTo>
                  <a:lnTo>
                    <a:pt x="738" y="668"/>
                  </a:lnTo>
                  <a:lnTo>
                    <a:pt x="742" y="680"/>
                  </a:lnTo>
                  <a:lnTo>
                    <a:pt x="770" y="692"/>
                  </a:lnTo>
                  <a:lnTo>
                    <a:pt x="790" y="692"/>
                  </a:lnTo>
                  <a:lnTo>
                    <a:pt x="794" y="702"/>
                  </a:lnTo>
                  <a:lnTo>
                    <a:pt x="788" y="706"/>
                  </a:lnTo>
                  <a:lnTo>
                    <a:pt x="780" y="718"/>
                  </a:lnTo>
                  <a:lnTo>
                    <a:pt x="784" y="730"/>
                  </a:lnTo>
                  <a:lnTo>
                    <a:pt x="782" y="730"/>
                  </a:lnTo>
                  <a:lnTo>
                    <a:pt x="782" y="732"/>
                  </a:lnTo>
                  <a:lnTo>
                    <a:pt x="778" y="728"/>
                  </a:lnTo>
                  <a:lnTo>
                    <a:pt x="776" y="728"/>
                  </a:lnTo>
                  <a:lnTo>
                    <a:pt x="772" y="728"/>
                  </a:lnTo>
                  <a:lnTo>
                    <a:pt x="768" y="730"/>
                  </a:lnTo>
                  <a:lnTo>
                    <a:pt x="766" y="732"/>
                  </a:lnTo>
                  <a:lnTo>
                    <a:pt x="766" y="738"/>
                  </a:lnTo>
                  <a:lnTo>
                    <a:pt x="766" y="740"/>
                  </a:lnTo>
                  <a:lnTo>
                    <a:pt x="768" y="74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2" name="Freeform 47"/>
            <p:cNvSpPr>
              <a:spLocks/>
            </p:cNvSpPr>
            <p:nvPr/>
          </p:nvSpPr>
          <p:spPr bwMode="gray">
            <a:xfrm>
              <a:off x="668220" y="4715323"/>
              <a:ext cx="978111" cy="820086"/>
            </a:xfrm>
            <a:custGeom>
              <a:avLst/>
              <a:gdLst>
                <a:gd name="T0" fmla="*/ 814 w 894"/>
                <a:gd name="T1" fmla="*/ 254 h 786"/>
                <a:gd name="T2" fmla="*/ 860 w 894"/>
                <a:gd name="T3" fmla="*/ 256 h 786"/>
                <a:gd name="T4" fmla="*/ 894 w 894"/>
                <a:gd name="T5" fmla="*/ 272 h 786"/>
                <a:gd name="T6" fmla="*/ 886 w 894"/>
                <a:gd name="T7" fmla="*/ 296 h 786"/>
                <a:gd name="T8" fmla="*/ 840 w 894"/>
                <a:gd name="T9" fmla="*/ 338 h 786"/>
                <a:gd name="T10" fmla="*/ 780 w 894"/>
                <a:gd name="T11" fmla="*/ 368 h 786"/>
                <a:gd name="T12" fmla="*/ 700 w 894"/>
                <a:gd name="T13" fmla="*/ 408 h 786"/>
                <a:gd name="T14" fmla="*/ 606 w 894"/>
                <a:gd name="T15" fmla="*/ 496 h 786"/>
                <a:gd name="T16" fmla="*/ 612 w 894"/>
                <a:gd name="T17" fmla="*/ 582 h 786"/>
                <a:gd name="T18" fmla="*/ 594 w 894"/>
                <a:gd name="T19" fmla="*/ 616 h 786"/>
                <a:gd name="T20" fmla="*/ 554 w 894"/>
                <a:gd name="T21" fmla="*/ 642 h 786"/>
                <a:gd name="T22" fmla="*/ 532 w 894"/>
                <a:gd name="T23" fmla="*/ 686 h 786"/>
                <a:gd name="T24" fmla="*/ 510 w 894"/>
                <a:gd name="T25" fmla="*/ 698 h 786"/>
                <a:gd name="T26" fmla="*/ 452 w 894"/>
                <a:gd name="T27" fmla="*/ 716 h 786"/>
                <a:gd name="T28" fmla="*/ 414 w 894"/>
                <a:gd name="T29" fmla="*/ 762 h 786"/>
                <a:gd name="T30" fmla="*/ 380 w 894"/>
                <a:gd name="T31" fmla="*/ 754 h 786"/>
                <a:gd name="T32" fmla="*/ 330 w 894"/>
                <a:gd name="T33" fmla="*/ 750 h 786"/>
                <a:gd name="T34" fmla="*/ 266 w 894"/>
                <a:gd name="T35" fmla="*/ 742 h 786"/>
                <a:gd name="T36" fmla="*/ 210 w 894"/>
                <a:gd name="T37" fmla="*/ 750 h 786"/>
                <a:gd name="T38" fmla="*/ 146 w 894"/>
                <a:gd name="T39" fmla="*/ 766 h 786"/>
                <a:gd name="T40" fmla="*/ 116 w 894"/>
                <a:gd name="T41" fmla="*/ 786 h 786"/>
                <a:gd name="T42" fmla="*/ 76 w 894"/>
                <a:gd name="T43" fmla="*/ 738 h 786"/>
                <a:gd name="T44" fmla="*/ 66 w 894"/>
                <a:gd name="T45" fmla="*/ 700 h 786"/>
                <a:gd name="T46" fmla="*/ 44 w 894"/>
                <a:gd name="T47" fmla="*/ 654 h 786"/>
                <a:gd name="T48" fmla="*/ 2 w 894"/>
                <a:gd name="T49" fmla="*/ 614 h 786"/>
                <a:gd name="T50" fmla="*/ 30 w 894"/>
                <a:gd name="T51" fmla="*/ 566 h 786"/>
                <a:gd name="T52" fmla="*/ 52 w 894"/>
                <a:gd name="T53" fmla="*/ 548 h 786"/>
                <a:gd name="T54" fmla="*/ 44 w 894"/>
                <a:gd name="T55" fmla="*/ 502 h 786"/>
                <a:gd name="T56" fmla="*/ 78 w 894"/>
                <a:gd name="T57" fmla="*/ 464 h 786"/>
                <a:gd name="T58" fmla="*/ 60 w 894"/>
                <a:gd name="T59" fmla="*/ 420 h 786"/>
                <a:gd name="T60" fmla="*/ 88 w 894"/>
                <a:gd name="T61" fmla="*/ 402 h 786"/>
                <a:gd name="T62" fmla="*/ 102 w 894"/>
                <a:gd name="T63" fmla="*/ 352 h 786"/>
                <a:gd name="T64" fmla="*/ 130 w 894"/>
                <a:gd name="T65" fmla="*/ 294 h 786"/>
                <a:gd name="T66" fmla="*/ 174 w 894"/>
                <a:gd name="T67" fmla="*/ 254 h 786"/>
                <a:gd name="T68" fmla="*/ 166 w 894"/>
                <a:gd name="T69" fmla="*/ 218 h 786"/>
                <a:gd name="T70" fmla="*/ 140 w 894"/>
                <a:gd name="T71" fmla="*/ 186 h 786"/>
                <a:gd name="T72" fmla="*/ 94 w 894"/>
                <a:gd name="T73" fmla="*/ 188 h 786"/>
                <a:gd name="T74" fmla="*/ 52 w 894"/>
                <a:gd name="T75" fmla="*/ 174 h 786"/>
                <a:gd name="T76" fmla="*/ 34 w 894"/>
                <a:gd name="T77" fmla="*/ 150 h 786"/>
                <a:gd name="T78" fmla="*/ 16 w 894"/>
                <a:gd name="T79" fmla="*/ 134 h 786"/>
                <a:gd name="T80" fmla="*/ 20 w 894"/>
                <a:gd name="T81" fmla="*/ 112 h 786"/>
                <a:gd name="T82" fmla="*/ 12 w 894"/>
                <a:gd name="T83" fmla="*/ 96 h 786"/>
                <a:gd name="T84" fmla="*/ 10 w 894"/>
                <a:gd name="T85" fmla="*/ 62 h 786"/>
                <a:gd name="T86" fmla="*/ 26 w 894"/>
                <a:gd name="T87" fmla="*/ 32 h 786"/>
                <a:gd name="T88" fmla="*/ 88 w 894"/>
                <a:gd name="T89" fmla="*/ 28 h 786"/>
                <a:gd name="T90" fmla="*/ 110 w 894"/>
                <a:gd name="T91" fmla="*/ 2 h 786"/>
                <a:gd name="T92" fmla="*/ 150 w 894"/>
                <a:gd name="T93" fmla="*/ 12 h 786"/>
                <a:gd name="T94" fmla="*/ 232 w 894"/>
                <a:gd name="T95" fmla="*/ 44 h 786"/>
                <a:gd name="T96" fmla="*/ 282 w 894"/>
                <a:gd name="T97" fmla="*/ 58 h 786"/>
                <a:gd name="T98" fmla="*/ 378 w 894"/>
                <a:gd name="T99" fmla="*/ 92 h 786"/>
                <a:gd name="T100" fmla="*/ 446 w 894"/>
                <a:gd name="T101" fmla="*/ 108 h 786"/>
                <a:gd name="T102" fmla="*/ 522 w 894"/>
                <a:gd name="T103" fmla="*/ 126 h 786"/>
                <a:gd name="T104" fmla="*/ 568 w 894"/>
                <a:gd name="T105" fmla="*/ 142 h 786"/>
                <a:gd name="T106" fmla="*/ 594 w 894"/>
                <a:gd name="T107" fmla="*/ 172 h 786"/>
                <a:gd name="T108" fmla="*/ 642 w 894"/>
                <a:gd name="T109" fmla="*/ 190 h 786"/>
                <a:gd name="T110" fmla="*/ 712 w 894"/>
                <a:gd name="T111" fmla="*/ 198 h 786"/>
                <a:gd name="T112" fmla="*/ 764 w 894"/>
                <a:gd name="T113" fmla="*/ 23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4" h="786">
                  <a:moveTo>
                    <a:pt x="780" y="242"/>
                  </a:moveTo>
                  <a:lnTo>
                    <a:pt x="786" y="242"/>
                  </a:lnTo>
                  <a:lnTo>
                    <a:pt x="798" y="248"/>
                  </a:lnTo>
                  <a:lnTo>
                    <a:pt x="798" y="252"/>
                  </a:lnTo>
                  <a:lnTo>
                    <a:pt x="804" y="258"/>
                  </a:lnTo>
                  <a:lnTo>
                    <a:pt x="814" y="254"/>
                  </a:lnTo>
                  <a:lnTo>
                    <a:pt x="822" y="252"/>
                  </a:lnTo>
                  <a:lnTo>
                    <a:pt x="828" y="254"/>
                  </a:lnTo>
                  <a:lnTo>
                    <a:pt x="836" y="262"/>
                  </a:lnTo>
                  <a:lnTo>
                    <a:pt x="850" y="262"/>
                  </a:lnTo>
                  <a:lnTo>
                    <a:pt x="852" y="256"/>
                  </a:lnTo>
                  <a:lnTo>
                    <a:pt x="860" y="256"/>
                  </a:lnTo>
                  <a:lnTo>
                    <a:pt x="866" y="254"/>
                  </a:lnTo>
                  <a:lnTo>
                    <a:pt x="876" y="254"/>
                  </a:lnTo>
                  <a:lnTo>
                    <a:pt x="886" y="260"/>
                  </a:lnTo>
                  <a:lnTo>
                    <a:pt x="888" y="264"/>
                  </a:lnTo>
                  <a:lnTo>
                    <a:pt x="892" y="268"/>
                  </a:lnTo>
                  <a:lnTo>
                    <a:pt x="894" y="272"/>
                  </a:lnTo>
                  <a:lnTo>
                    <a:pt x="892" y="278"/>
                  </a:lnTo>
                  <a:lnTo>
                    <a:pt x="888" y="278"/>
                  </a:lnTo>
                  <a:lnTo>
                    <a:pt x="882" y="278"/>
                  </a:lnTo>
                  <a:lnTo>
                    <a:pt x="882" y="282"/>
                  </a:lnTo>
                  <a:lnTo>
                    <a:pt x="884" y="294"/>
                  </a:lnTo>
                  <a:lnTo>
                    <a:pt x="886" y="296"/>
                  </a:lnTo>
                  <a:lnTo>
                    <a:pt x="886" y="304"/>
                  </a:lnTo>
                  <a:lnTo>
                    <a:pt x="884" y="312"/>
                  </a:lnTo>
                  <a:lnTo>
                    <a:pt x="874" y="318"/>
                  </a:lnTo>
                  <a:lnTo>
                    <a:pt x="860" y="330"/>
                  </a:lnTo>
                  <a:lnTo>
                    <a:pt x="848" y="334"/>
                  </a:lnTo>
                  <a:lnTo>
                    <a:pt x="840" y="338"/>
                  </a:lnTo>
                  <a:lnTo>
                    <a:pt x="826" y="342"/>
                  </a:lnTo>
                  <a:lnTo>
                    <a:pt x="810" y="350"/>
                  </a:lnTo>
                  <a:lnTo>
                    <a:pt x="806" y="354"/>
                  </a:lnTo>
                  <a:lnTo>
                    <a:pt x="802" y="360"/>
                  </a:lnTo>
                  <a:lnTo>
                    <a:pt x="798" y="364"/>
                  </a:lnTo>
                  <a:lnTo>
                    <a:pt x="780" y="368"/>
                  </a:lnTo>
                  <a:lnTo>
                    <a:pt x="758" y="370"/>
                  </a:lnTo>
                  <a:lnTo>
                    <a:pt x="736" y="374"/>
                  </a:lnTo>
                  <a:lnTo>
                    <a:pt x="718" y="376"/>
                  </a:lnTo>
                  <a:lnTo>
                    <a:pt x="708" y="380"/>
                  </a:lnTo>
                  <a:lnTo>
                    <a:pt x="690" y="398"/>
                  </a:lnTo>
                  <a:lnTo>
                    <a:pt x="700" y="408"/>
                  </a:lnTo>
                  <a:lnTo>
                    <a:pt x="684" y="422"/>
                  </a:lnTo>
                  <a:lnTo>
                    <a:pt x="678" y="416"/>
                  </a:lnTo>
                  <a:lnTo>
                    <a:pt x="668" y="428"/>
                  </a:lnTo>
                  <a:lnTo>
                    <a:pt x="650" y="446"/>
                  </a:lnTo>
                  <a:lnTo>
                    <a:pt x="632" y="466"/>
                  </a:lnTo>
                  <a:lnTo>
                    <a:pt x="606" y="496"/>
                  </a:lnTo>
                  <a:lnTo>
                    <a:pt x="592" y="520"/>
                  </a:lnTo>
                  <a:lnTo>
                    <a:pt x="592" y="526"/>
                  </a:lnTo>
                  <a:lnTo>
                    <a:pt x="594" y="542"/>
                  </a:lnTo>
                  <a:lnTo>
                    <a:pt x="598" y="560"/>
                  </a:lnTo>
                  <a:lnTo>
                    <a:pt x="602" y="572"/>
                  </a:lnTo>
                  <a:lnTo>
                    <a:pt x="612" y="582"/>
                  </a:lnTo>
                  <a:lnTo>
                    <a:pt x="620" y="588"/>
                  </a:lnTo>
                  <a:lnTo>
                    <a:pt x="624" y="598"/>
                  </a:lnTo>
                  <a:lnTo>
                    <a:pt x="616" y="600"/>
                  </a:lnTo>
                  <a:lnTo>
                    <a:pt x="606" y="604"/>
                  </a:lnTo>
                  <a:lnTo>
                    <a:pt x="598" y="610"/>
                  </a:lnTo>
                  <a:lnTo>
                    <a:pt x="594" y="616"/>
                  </a:lnTo>
                  <a:lnTo>
                    <a:pt x="582" y="616"/>
                  </a:lnTo>
                  <a:lnTo>
                    <a:pt x="572" y="622"/>
                  </a:lnTo>
                  <a:lnTo>
                    <a:pt x="564" y="630"/>
                  </a:lnTo>
                  <a:lnTo>
                    <a:pt x="560" y="634"/>
                  </a:lnTo>
                  <a:lnTo>
                    <a:pt x="560" y="642"/>
                  </a:lnTo>
                  <a:lnTo>
                    <a:pt x="554" y="642"/>
                  </a:lnTo>
                  <a:lnTo>
                    <a:pt x="548" y="650"/>
                  </a:lnTo>
                  <a:lnTo>
                    <a:pt x="544" y="660"/>
                  </a:lnTo>
                  <a:lnTo>
                    <a:pt x="540" y="666"/>
                  </a:lnTo>
                  <a:lnTo>
                    <a:pt x="534" y="674"/>
                  </a:lnTo>
                  <a:lnTo>
                    <a:pt x="532" y="680"/>
                  </a:lnTo>
                  <a:lnTo>
                    <a:pt x="532" y="686"/>
                  </a:lnTo>
                  <a:lnTo>
                    <a:pt x="534" y="692"/>
                  </a:lnTo>
                  <a:lnTo>
                    <a:pt x="534" y="696"/>
                  </a:lnTo>
                  <a:lnTo>
                    <a:pt x="534" y="698"/>
                  </a:lnTo>
                  <a:lnTo>
                    <a:pt x="532" y="700"/>
                  </a:lnTo>
                  <a:lnTo>
                    <a:pt x="522" y="700"/>
                  </a:lnTo>
                  <a:lnTo>
                    <a:pt x="510" y="698"/>
                  </a:lnTo>
                  <a:lnTo>
                    <a:pt x="502" y="696"/>
                  </a:lnTo>
                  <a:lnTo>
                    <a:pt x="494" y="696"/>
                  </a:lnTo>
                  <a:lnTo>
                    <a:pt x="482" y="698"/>
                  </a:lnTo>
                  <a:lnTo>
                    <a:pt x="472" y="706"/>
                  </a:lnTo>
                  <a:lnTo>
                    <a:pt x="460" y="708"/>
                  </a:lnTo>
                  <a:lnTo>
                    <a:pt x="452" y="716"/>
                  </a:lnTo>
                  <a:lnTo>
                    <a:pt x="442" y="726"/>
                  </a:lnTo>
                  <a:lnTo>
                    <a:pt x="438" y="736"/>
                  </a:lnTo>
                  <a:lnTo>
                    <a:pt x="432" y="744"/>
                  </a:lnTo>
                  <a:lnTo>
                    <a:pt x="422" y="754"/>
                  </a:lnTo>
                  <a:lnTo>
                    <a:pt x="420" y="758"/>
                  </a:lnTo>
                  <a:lnTo>
                    <a:pt x="414" y="762"/>
                  </a:lnTo>
                  <a:lnTo>
                    <a:pt x="412" y="764"/>
                  </a:lnTo>
                  <a:lnTo>
                    <a:pt x="410" y="766"/>
                  </a:lnTo>
                  <a:lnTo>
                    <a:pt x="404" y="768"/>
                  </a:lnTo>
                  <a:lnTo>
                    <a:pt x="400" y="760"/>
                  </a:lnTo>
                  <a:lnTo>
                    <a:pt x="392" y="754"/>
                  </a:lnTo>
                  <a:lnTo>
                    <a:pt x="380" y="754"/>
                  </a:lnTo>
                  <a:lnTo>
                    <a:pt x="374" y="756"/>
                  </a:lnTo>
                  <a:lnTo>
                    <a:pt x="368" y="760"/>
                  </a:lnTo>
                  <a:lnTo>
                    <a:pt x="362" y="764"/>
                  </a:lnTo>
                  <a:lnTo>
                    <a:pt x="352" y="760"/>
                  </a:lnTo>
                  <a:lnTo>
                    <a:pt x="340" y="754"/>
                  </a:lnTo>
                  <a:lnTo>
                    <a:pt x="330" y="750"/>
                  </a:lnTo>
                  <a:lnTo>
                    <a:pt x="312" y="750"/>
                  </a:lnTo>
                  <a:lnTo>
                    <a:pt x="308" y="754"/>
                  </a:lnTo>
                  <a:lnTo>
                    <a:pt x="298" y="750"/>
                  </a:lnTo>
                  <a:lnTo>
                    <a:pt x="292" y="748"/>
                  </a:lnTo>
                  <a:lnTo>
                    <a:pt x="280" y="744"/>
                  </a:lnTo>
                  <a:lnTo>
                    <a:pt x="266" y="742"/>
                  </a:lnTo>
                  <a:lnTo>
                    <a:pt x="256" y="740"/>
                  </a:lnTo>
                  <a:lnTo>
                    <a:pt x="246" y="738"/>
                  </a:lnTo>
                  <a:lnTo>
                    <a:pt x="234" y="740"/>
                  </a:lnTo>
                  <a:lnTo>
                    <a:pt x="222" y="740"/>
                  </a:lnTo>
                  <a:lnTo>
                    <a:pt x="216" y="746"/>
                  </a:lnTo>
                  <a:lnTo>
                    <a:pt x="210" y="750"/>
                  </a:lnTo>
                  <a:lnTo>
                    <a:pt x="200" y="752"/>
                  </a:lnTo>
                  <a:lnTo>
                    <a:pt x="192" y="752"/>
                  </a:lnTo>
                  <a:lnTo>
                    <a:pt x="180" y="750"/>
                  </a:lnTo>
                  <a:lnTo>
                    <a:pt x="170" y="754"/>
                  </a:lnTo>
                  <a:lnTo>
                    <a:pt x="156" y="756"/>
                  </a:lnTo>
                  <a:lnTo>
                    <a:pt x="146" y="766"/>
                  </a:lnTo>
                  <a:lnTo>
                    <a:pt x="140" y="774"/>
                  </a:lnTo>
                  <a:lnTo>
                    <a:pt x="132" y="776"/>
                  </a:lnTo>
                  <a:lnTo>
                    <a:pt x="132" y="782"/>
                  </a:lnTo>
                  <a:lnTo>
                    <a:pt x="130" y="784"/>
                  </a:lnTo>
                  <a:lnTo>
                    <a:pt x="126" y="786"/>
                  </a:lnTo>
                  <a:lnTo>
                    <a:pt x="116" y="786"/>
                  </a:lnTo>
                  <a:lnTo>
                    <a:pt x="106" y="778"/>
                  </a:lnTo>
                  <a:lnTo>
                    <a:pt x="98" y="768"/>
                  </a:lnTo>
                  <a:lnTo>
                    <a:pt x="92" y="762"/>
                  </a:lnTo>
                  <a:lnTo>
                    <a:pt x="86" y="760"/>
                  </a:lnTo>
                  <a:lnTo>
                    <a:pt x="80" y="748"/>
                  </a:lnTo>
                  <a:lnTo>
                    <a:pt x="76" y="738"/>
                  </a:lnTo>
                  <a:lnTo>
                    <a:pt x="74" y="730"/>
                  </a:lnTo>
                  <a:lnTo>
                    <a:pt x="76" y="722"/>
                  </a:lnTo>
                  <a:lnTo>
                    <a:pt x="78" y="716"/>
                  </a:lnTo>
                  <a:lnTo>
                    <a:pt x="70" y="714"/>
                  </a:lnTo>
                  <a:lnTo>
                    <a:pt x="66" y="708"/>
                  </a:lnTo>
                  <a:lnTo>
                    <a:pt x="66" y="700"/>
                  </a:lnTo>
                  <a:lnTo>
                    <a:pt x="72" y="696"/>
                  </a:lnTo>
                  <a:lnTo>
                    <a:pt x="76" y="692"/>
                  </a:lnTo>
                  <a:lnTo>
                    <a:pt x="70" y="684"/>
                  </a:lnTo>
                  <a:lnTo>
                    <a:pt x="62" y="672"/>
                  </a:lnTo>
                  <a:lnTo>
                    <a:pt x="54" y="662"/>
                  </a:lnTo>
                  <a:lnTo>
                    <a:pt x="44" y="654"/>
                  </a:lnTo>
                  <a:lnTo>
                    <a:pt x="36" y="648"/>
                  </a:lnTo>
                  <a:lnTo>
                    <a:pt x="26" y="644"/>
                  </a:lnTo>
                  <a:lnTo>
                    <a:pt x="16" y="640"/>
                  </a:lnTo>
                  <a:lnTo>
                    <a:pt x="0" y="640"/>
                  </a:lnTo>
                  <a:lnTo>
                    <a:pt x="0" y="626"/>
                  </a:lnTo>
                  <a:lnTo>
                    <a:pt x="2" y="614"/>
                  </a:lnTo>
                  <a:lnTo>
                    <a:pt x="4" y="604"/>
                  </a:lnTo>
                  <a:lnTo>
                    <a:pt x="0" y="598"/>
                  </a:lnTo>
                  <a:lnTo>
                    <a:pt x="10" y="586"/>
                  </a:lnTo>
                  <a:lnTo>
                    <a:pt x="16" y="582"/>
                  </a:lnTo>
                  <a:lnTo>
                    <a:pt x="20" y="576"/>
                  </a:lnTo>
                  <a:lnTo>
                    <a:pt x="30" y="566"/>
                  </a:lnTo>
                  <a:lnTo>
                    <a:pt x="32" y="562"/>
                  </a:lnTo>
                  <a:lnTo>
                    <a:pt x="40" y="564"/>
                  </a:lnTo>
                  <a:lnTo>
                    <a:pt x="52" y="562"/>
                  </a:lnTo>
                  <a:lnTo>
                    <a:pt x="58" y="552"/>
                  </a:lnTo>
                  <a:lnTo>
                    <a:pt x="60" y="546"/>
                  </a:lnTo>
                  <a:lnTo>
                    <a:pt x="52" y="548"/>
                  </a:lnTo>
                  <a:lnTo>
                    <a:pt x="46" y="544"/>
                  </a:lnTo>
                  <a:lnTo>
                    <a:pt x="44" y="534"/>
                  </a:lnTo>
                  <a:lnTo>
                    <a:pt x="40" y="524"/>
                  </a:lnTo>
                  <a:lnTo>
                    <a:pt x="38" y="516"/>
                  </a:lnTo>
                  <a:lnTo>
                    <a:pt x="40" y="508"/>
                  </a:lnTo>
                  <a:lnTo>
                    <a:pt x="44" y="502"/>
                  </a:lnTo>
                  <a:lnTo>
                    <a:pt x="44" y="494"/>
                  </a:lnTo>
                  <a:lnTo>
                    <a:pt x="52" y="490"/>
                  </a:lnTo>
                  <a:lnTo>
                    <a:pt x="62" y="484"/>
                  </a:lnTo>
                  <a:lnTo>
                    <a:pt x="72" y="476"/>
                  </a:lnTo>
                  <a:lnTo>
                    <a:pt x="76" y="472"/>
                  </a:lnTo>
                  <a:lnTo>
                    <a:pt x="78" y="464"/>
                  </a:lnTo>
                  <a:lnTo>
                    <a:pt x="76" y="458"/>
                  </a:lnTo>
                  <a:lnTo>
                    <a:pt x="68" y="458"/>
                  </a:lnTo>
                  <a:lnTo>
                    <a:pt x="64" y="452"/>
                  </a:lnTo>
                  <a:lnTo>
                    <a:pt x="60" y="438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54" y="410"/>
                  </a:lnTo>
                  <a:lnTo>
                    <a:pt x="50" y="402"/>
                  </a:lnTo>
                  <a:lnTo>
                    <a:pt x="60" y="396"/>
                  </a:lnTo>
                  <a:lnTo>
                    <a:pt x="70" y="398"/>
                  </a:lnTo>
                  <a:lnTo>
                    <a:pt x="78" y="402"/>
                  </a:lnTo>
                  <a:lnTo>
                    <a:pt x="88" y="402"/>
                  </a:lnTo>
                  <a:lnTo>
                    <a:pt x="98" y="388"/>
                  </a:lnTo>
                  <a:lnTo>
                    <a:pt x="104" y="380"/>
                  </a:lnTo>
                  <a:lnTo>
                    <a:pt x="106" y="370"/>
                  </a:lnTo>
                  <a:lnTo>
                    <a:pt x="102" y="364"/>
                  </a:lnTo>
                  <a:lnTo>
                    <a:pt x="100" y="354"/>
                  </a:lnTo>
                  <a:lnTo>
                    <a:pt x="102" y="352"/>
                  </a:lnTo>
                  <a:lnTo>
                    <a:pt x="104" y="350"/>
                  </a:lnTo>
                  <a:lnTo>
                    <a:pt x="116" y="348"/>
                  </a:lnTo>
                  <a:lnTo>
                    <a:pt x="118" y="338"/>
                  </a:lnTo>
                  <a:lnTo>
                    <a:pt x="124" y="322"/>
                  </a:lnTo>
                  <a:lnTo>
                    <a:pt x="128" y="310"/>
                  </a:lnTo>
                  <a:lnTo>
                    <a:pt x="130" y="294"/>
                  </a:lnTo>
                  <a:lnTo>
                    <a:pt x="128" y="286"/>
                  </a:lnTo>
                  <a:lnTo>
                    <a:pt x="126" y="276"/>
                  </a:lnTo>
                  <a:lnTo>
                    <a:pt x="138" y="272"/>
                  </a:lnTo>
                  <a:lnTo>
                    <a:pt x="146" y="266"/>
                  </a:lnTo>
                  <a:lnTo>
                    <a:pt x="160" y="260"/>
                  </a:lnTo>
                  <a:lnTo>
                    <a:pt x="174" y="254"/>
                  </a:lnTo>
                  <a:lnTo>
                    <a:pt x="180" y="250"/>
                  </a:lnTo>
                  <a:lnTo>
                    <a:pt x="188" y="240"/>
                  </a:lnTo>
                  <a:lnTo>
                    <a:pt x="190" y="230"/>
                  </a:lnTo>
                  <a:lnTo>
                    <a:pt x="182" y="224"/>
                  </a:lnTo>
                  <a:lnTo>
                    <a:pt x="174" y="222"/>
                  </a:lnTo>
                  <a:lnTo>
                    <a:pt x="166" y="218"/>
                  </a:lnTo>
                  <a:lnTo>
                    <a:pt x="170" y="210"/>
                  </a:lnTo>
                  <a:lnTo>
                    <a:pt x="174" y="202"/>
                  </a:lnTo>
                  <a:lnTo>
                    <a:pt x="166" y="194"/>
                  </a:lnTo>
                  <a:lnTo>
                    <a:pt x="156" y="190"/>
                  </a:lnTo>
                  <a:lnTo>
                    <a:pt x="146" y="190"/>
                  </a:lnTo>
                  <a:lnTo>
                    <a:pt x="140" y="186"/>
                  </a:lnTo>
                  <a:lnTo>
                    <a:pt x="132" y="182"/>
                  </a:lnTo>
                  <a:lnTo>
                    <a:pt x="128" y="190"/>
                  </a:lnTo>
                  <a:lnTo>
                    <a:pt x="114" y="192"/>
                  </a:lnTo>
                  <a:lnTo>
                    <a:pt x="106" y="190"/>
                  </a:lnTo>
                  <a:lnTo>
                    <a:pt x="102" y="186"/>
                  </a:lnTo>
                  <a:lnTo>
                    <a:pt x="94" y="188"/>
                  </a:lnTo>
                  <a:lnTo>
                    <a:pt x="92" y="180"/>
                  </a:lnTo>
                  <a:lnTo>
                    <a:pt x="80" y="180"/>
                  </a:lnTo>
                  <a:lnTo>
                    <a:pt x="74" y="176"/>
                  </a:lnTo>
                  <a:lnTo>
                    <a:pt x="64" y="182"/>
                  </a:lnTo>
                  <a:lnTo>
                    <a:pt x="56" y="180"/>
                  </a:lnTo>
                  <a:lnTo>
                    <a:pt x="52" y="174"/>
                  </a:lnTo>
                  <a:lnTo>
                    <a:pt x="56" y="166"/>
                  </a:lnTo>
                  <a:lnTo>
                    <a:pt x="66" y="160"/>
                  </a:lnTo>
                  <a:lnTo>
                    <a:pt x="60" y="154"/>
                  </a:lnTo>
                  <a:lnTo>
                    <a:pt x="58" y="150"/>
                  </a:lnTo>
                  <a:lnTo>
                    <a:pt x="46" y="150"/>
                  </a:lnTo>
                  <a:lnTo>
                    <a:pt x="34" y="150"/>
                  </a:lnTo>
                  <a:lnTo>
                    <a:pt x="26" y="152"/>
                  </a:lnTo>
                  <a:lnTo>
                    <a:pt x="18" y="158"/>
                  </a:lnTo>
                  <a:lnTo>
                    <a:pt x="8" y="164"/>
                  </a:lnTo>
                  <a:lnTo>
                    <a:pt x="4" y="158"/>
                  </a:lnTo>
                  <a:lnTo>
                    <a:pt x="6" y="146"/>
                  </a:lnTo>
                  <a:lnTo>
                    <a:pt x="16" y="134"/>
                  </a:lnTo>
                  <a:lnTo>
                    <a:pt x="26" y="128"/>
                  </a:lnTo>
                  <a:lnTo>
                    <a:pt x="18" y="128"/>
                  </a:lnTo>
                  <a:lnTo>
                    <a:pt x="16" y="122"/>
                  </a:lnTo>
                  <a:lnTo>
                    <a:pt x="22" y="118"/>
                  </a:lnTo>
                  <a:lnTo>
                    <a:pt x="30" y="112"/>
                  </a:lnTo>
                  <a:lnTo>
                    <a:pt x="20" y="112"/>
                  </a:lnTo>
                  <a:lnTo>
                    <a:pt x="20" y="104"/>
                  </a:lnTo>
                  <a:lnTo>
                    <a:pt x="24" y="98"/>
                  </a:lnTo>
                  <a:lnTo>
                    <a:pt x="30" y="92"/>
                  </a:lnTo>
                  <a:lnTo>
                    <a:pt x="26" y="86"/>
                  </a:lnTo>
                  <a:lnTo>
                    <a:pt x="18" y="92"/>
                  </a:lnTo>
                  <a:lnTo>
                    <a:pt x="12" y="96"/>
                  </a:lnTo>
                  <a:lnTo>
                    <a:pt x="10" y="84"/>
                  </a:lnTo>
                  <a:lnTo>
                    <a:pt x="18" y="78"/>
                  </a:lnTo>
                  <a:lnTo>
                    <a:pt x="26" y="74"/>
                  </a:lnTo>
                  <a:lnTo>
                    <a:pt x="18" y="72"/>
                  </a:lnTo>
                  <a:lnTo>
                    <a:pt x="12" y="72"/>
                  </a:lnTo>
                  <a:lnTo>
                    <a:pt x="10" y="62"/>
                  </a:lnTo>
                  <a:lnTo>
                    <a:pt x="10" y="56"/>
                  </a:lnTo>
                  <a:lnTo>
                    <a:pt x="8" y="50"/>
                  </a:lnTo>
                  <a:lnTo>
                    <a:pt x="10" y="42"/>
                  </a:lnTo>
                  <a:lnTo>
                    <a:pt x="16" y="36"/>
                  </a:lnTo>
                  <a:lnTo>
                    <a:pt x="22" y="30"/>
                  </a:lnTo>
                  <a:lnTo>
                    <a:pt x="26" y="32"/>
                  </a:lnTo>
                  <a:lnTo>
                    <a:pt x="30" y="30"/>
                  </a:lnTo>
                  <a:lnTo>
                    <a:pt x="40" y="24"/>
                  </a:lnTo>
                  <a:lnTo>
                    <a:pt x="50" y="28"/>
                  </a:lnTo>
                  <a:lnTo>
                    <a:pt x="60" y="30"/>
                  </a:lnTo>
                  <a:lnTo>
                    <a:pt x="78" y="28"/>
                  </a:lnTo>
                  <a:lnTo>
                    <a:pt x="88" y="28"/>
                  </a:lnTo>
                  <a:lnTo>
                    <a:pt x="92" y="22"/>
                  </a:lnTo>
                  <a:lnTo>
                    <a:pt x="84" y="18"/>
                  </a:lnTo>
                  <a:lnTo>
                    <a:pt x="88" y="12"/>
                  </a:lnTo>
                  <a:lnTo>
                    <a:pt x="96" y="10"/>
                  </a:lnTo>
                  <a:lnTo>
                    <a:pt x="104" y="6"/>
                  </a:lnTo>
                  <a:lnTo>
                    <a:pt x="110" y="2"/>
                  </a:lnTo>
                  <a:lnTo>
                    <a:pt x="116" y="0"/>
                  </a:lnTo>
                  <a:lnTo>
                    <a:pt x="120" y="2"/>
                  </a:lnTo>
                  <a:lnTo>
                    <a:pt x="124" y="6"/>
                  </a:lnTo>
                  <a:lnTo>
                    <a:pt x="132" y="6"/>
                  </a:lnTo>
                  <a:lnTo>
                    <a:pt x="142" y="6"/>
                  </a:lnTo>
                  <a:lnTo>
                    <a:pt x="150" y="12"/>
                  </a:lnTo>
                  <a:lnTo>
                    <a:pt x="162" y="28"/>
                  </a:lnTo>
                  <a:lnTo>
                    <a:pt x="174" y="34"/>
                  </a:lnTo>
                  <a:lnTo>
                    <a:pt x="188" y="34"/>
                  </a:lnTo>
                  <a:lnTo>
                    <a:pt x="200" y="40"/>
                  </a:lnTo>
                  <a:lnTo>
                    <a:pt x="220" y="42"/>
                  </a:lnTo>
                  <a:lnTo>
                    <a:pt x="232" y="44"/>
                  </a:lnTo>
                  <a:lnTo>
                    <a:pt x="244" y="46"/>
                  </a:lnTo>
                  <a:lnTo>
                    <a:pt x="254" y="44"/>
                  </a:lnTo>
                  <a:lnTo>
                    <a:pt x="262" y="42"/>
                  </a:lnTo>
                  <a:lnTo>
                    <a:pt x="268" y="50"/>
                  </a:lnTo>
                  <a:lnTo>
                    <a:pt x="272" y="58"/>
                  </a:lnTo>
                  <a:lnTo>
                    <a:pt x="282" y="58"/>
                  </a:lnTo>
                  <a:lnTo>
                    <a:pt x="288" y="58"/>
                  </a:lnTo>
                  <a:lnTo>
                    <a:pt x="300" y="68"/>
                  </a:lnTo>
                  <a:lnTo>
                    <a:pt x="318" y="76"/>
                  </a:lnTo>
                  <a:lnTo>
                    <a:pt x="336" y="82"/>
                  </a:lnTo>
                  <a:lnTo>
                    <a:pt x="358" y="90"/>
                  </a:lnTo>
                  <a:lnTo>
                    <a:pt x="378" y="92"/>
                  </a:lnTo>
                  <a:lnTo>
                    <a:pt x="390" y="92"/>
                  </a:lnTo>
                  <a:lnTo>
                    <a:pt x="402" y="88"/>
                  </a:lnTo>
                  <a:lnTo>
                    <a:pt x="414" y="88"/>
                  </a:lnTo>
                  <a:lnTo>
                    <a:pt x="428" y="94"/>
                  </a:lnTo>
                  <a:lnTo>
                    <a:pt x="434" y="102"/>
                  </a:lnTo>
                  <a:lnTo>
                    <a:pt x="446" y="108"/>
                  </a:lnTo>
                  <a:lnTo>
                    <a:pt x="460" y="106"/>
                  </a:lnTo>
                  <a:lnTo>
                    <a:pt x="468" y="106"/>
                  </a:lnTo>
                  <a:lnTo>
                    <a:pt x="478" y="108"/>
                  </a:lnTo>
                  <a:lnTo>
                    <a:pt x="492" y="116"/>
                  </a:lnTo>
                  <a:lnTo>
                    <a:pt x="506" y="124"/>
                  </a:lnTo>
                  <a:lnTo>
                    <a:pt x="522" y="126"/>
                  </a:lnTo>
                  <a:lnTo>
                    <a:pt x="532" y="124"/>
                  </a:lnTo>
                  <a:lnTo>
                    <a:pt x="542" y="124"/>
                  </a:lnTo>
                  <a:lnTo>
                    <a:pt x="552" y="134"/>
                  </a:lnTo>
                  <a:lnTo>
                    <a:pt x="558" y="136"/>
                  </a:lnTo>
                  <a:lnTo>
                    <a:pt x="566" y="136"/>
                  </a:lnTo>
                  <a:lnTo>
                    <a:pt x="568" y="142"/>
                  </a:lnTo>
                  <a:lnTo>
                    <a:pt x="562" y="150"/>
                  </a:lnTo>
                  <a:lnTo>
                    <a:pt x="560" y="158"/>
                  </a:lnTo>
                  <a:lnTo>
                    <a:pt x="568" y="158"/>
                  </a:lnTo>
                  <a:lnTo>
                    <a:pt x="576" y="154"/>
                  </a:lnTo>
                  <a:lnTo>
                    <a:pt x="578" y="160"/>
                  </a:lnTo>
                  <a:lnTo>
                    <a:pt x="594" y="172"/>
                  </a:lnTo>
                  <a:lnTo>
                    <a:pt x="604" y="176"/>
                  </a:lnTo>
                  <a:lnTo>
                    <a:pt x="612" y="174"/>
                  </a:lnTo>
                  <a:lnTo>
                    <a:pt x="612" y="180"/>
                  </a:lnTo>
                  <a:lnTo>
                    <a:pt x="622" y="194"/>
                  </a:lnTo>
                  <a:lnTo>
                    <a:pt x="636" y="192"/>
                  </a:lnTo>
                  <a:lnTo>
                    <a:pt x="642" y="190"/>
                  </a:lnTo>
                  <a:lnTo>
                    <a:pt x="656" y="206"/>
                  </a:lnTo>
                  <a:lnTo>
                    <a:pt x="688" y="210"/>
                  </a:lnTo>
                  <a:lnTo>
                    <a:pt x="690" y="214"/>
                  </a:lnTo>
                  <a:lnTo>
                    <a:pt x="710" y="214"/>
                  </a:lnTo>
                  <a:lnTo>
                    <a:pt x="708" y="202"/>
                  </a:lnTo>
                  <a:lnTo>
                    <a:pt x="712" y="198"/>
                  </a:lnTo>
                  <a:lnTo>
                    <a:pt x="726" y="204"/>
                  </a:lnTo>
                  <a:lnTo>
                    <a:pt x="740" y="210"/>
                  </a:lnTo>
                  <a:lnTo>
                    <a:pt x="746" y="216"/>
                  </a:lnTo>
                  <a:lnTo>
                    <a:pt x="756" y="216"/>
                  </a:lnTo>
                  <a:lnTo>
                    <a:pt x="762" y="222"/>
                  </a:lnTo>
                  <a:lnTo>
                    <a:pt x="764" y="236"/>
                  </a:lnTo>
                  <a:lnTo>
                    <a:pt x="766" y="240"/>
                  </a:lnTo>
                  <a:lnTo>
                    <a:pt x="772" y="244"/>
                  </a:lnTo>
                  <a:lnTo>
                    <a:pt x="776" y="244"/>
                  </a:lnTo>
                  <a:lnTo>
                    <a:pt x="780" y="24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3" name="Freeform 48"/>
            <p:cNvSpPr>
              <a:spLocks/>
            </p:cNvSpPr>
            <p:nvPr/>
          </p:nvSpPr>
          <p:spPr bwMode="gray">
            <a:xfrm>
              <a:off x="529063" y="4873186"/>
              <a:ext cx="346553" cy="519076"/>
            </a:xfrm>
            <a:custGeom>
              <a:avLst/>
              <a:gdLst>
                <a:gd name="T0" fmla="*/ 30 w 316"/>
                <a:gd name="T1" fmla="*/ 474 h 498"/>
                <a:gd name="T2" fmla="*/ 66 w 316"/>
                <a:gd name="T3" fmla="*/ 484 h 498"/>
                <a:gd name="T4" fmla="*/ 94 w 316"/>
                <a:gd name="T5" fmla="*/ 498 h 498"/>
                <a:gd name="T6" fmla="*/ 126 w 316"/>
                <a:gd name="T7" fmla="*/ 490 h 498"/>
                <a:gd name="T8" fmla="*/ 126 w 316"/>
                <a:gd name="T9" fmla="*/ 448 h 498"/>
                <a:gd name="T10" fmla="*/ 158 w 316"/>
                <a:gd name="T11" fmla="*/ 412 h 498"/>
                <a:gd name="T12" fmla="*/ 184 w 316"/>
                <a:gd name="T13" fmla="*/ 402 h 498"/>
                <a:gd name="T14" fmla="*/ 172 w 316"/>
                <a:gd name="T15" fmla="*/ 394 h 498"/>
                <a:gd name="T16" fmla="*/ 166 w 316"/>
                <a:gd name="T17" fmla="*/ 358 h 498"/>
                <a:gd name="T18" fmla="*/ 188 w 316"/>
                <a:gd name="T19" fmla="*/ 334 h 498"/>
                <a:gd name="T20" fmla="*/ 204 w 316"/>
                <a:gd name="T21" fmla="*/ 314 h 498"/>
                <a:gd name="T22" fmla="*/ 190 w 316"/>
                <a:gd name="T23" fmla="*/ 302 h 498"/>
                <a:gd name="T24" fmla="*/ 186 w 316"/>
                <a:gd name="T25" fmla="*/ 270 h 498"/>
                <a:gd name="T26" fmla="*/ 186 w 316"/>
                <a:gd name="T27" fmla="*/ 246 h 498"/>
                <a:gd name="T28" fmla="*/ 214 w 316"/>
                <a:gd name="T29" fmla="*/ 252 h 498"/>
                <a:gd name="T30" fmla="*/ 232 w 316"/>
                <a:gd name="T31" fmla="*/ 220 h 498"/>
                <a:gd name="T32" fmla="*/ 226 w 316"/>
                <a:gd name="T33" fmla="*/ 204 h 498"/>
                <a:gd name="T34" fmla="*/ 242 w 316"/>
                <a:gd name="T35" fmla="*/ 198 h 498"/>
                <a:gd name="T36" fmla="*/ 256 w 316"/>
                <a:gd name="T37" fmla="*/ 144 h 498"/>
                <a:gd name="T38" fmla="*/ 264 w 316"/>
                <a:gd name="T39" fmla="*/ 122 h 498"/>
                <a:gd name="T40" fmla="*/ 300 w 316"/>
                <a:gd name="T41" fmla="*/ 104 h 498"/>
                <a:gd name="T42" fmla="*/ 316 w 316"/>
                <a:gd name="T43" fmla="*/ 80 h 498"/>
                <a:gd name="T44" fmla="*/ 292 w 316"/>
                <a:gd name="T45" fmla="*/ 68 h 498"/>
                <a:gd name="T46" fmla="*/ 292 w 316"/>
                <a:gd name="T47" fmla="*/ 44 h 498"/>
                <a:gd name="T48" fmla="*/ 264 w 316"/>
                <a:gd name="T49" fmla="*/ 36 h 498"/>
                <a:gd name="T50" fmla="*/ 240 w 316"/>
                <a:gd name="T51" fmla="*/ 42 h 498"/>
                <a:gd name="T52" fmla="*/ 220 w 316"/>
                <a:gd name="T53" fmla="*/ 38 h 498"/>
                <a:gd name="T54" fmla="*/ 200 w 316"/>
                <a:gd name="T55" fmla="*/ 26 h 498"/>
                <a:gd name="T56" fmla="*/ 178 w 316"/>
                <a:gd name="T57" fmla="*/ 24 h 498"/>
                <a:gd name="T58" fmla="*/ 186 w 316"/>
                <a:gd name="T59" fmla="*/ 4 h 498"/>
                <a:gd name="T60" fmla="*/ 158 w 316"/>
                <a:gd name="T61" fmla="*/ 0 h 498"/>
                <a:gd name="T62" fmla="*/ 130 w 316"/>
                <a:gd name="T63" fmla="*/ 20 h 498"/>
                <a:gd name="T64" fmla="*/ 128 w 316"/>
                <a:gd name="T65" fmla="*/ 82 h 498"/>
                <a:gd name="T66" fmla="*/ 114 w 316"/>
                <a:gd name="T67" fmla="*/ 124 h 498"/>
                <a:gd name="T68" fmla="*/ 84 w 316"/>
                <a:gd name="T69" fmla="*/ 170 h 498"/>
                <a:gd name="T70" fmla="*/ 70 w 316"/>
                <a:gd name="T71" fmla="*/ 206 h 498"/>
                <a:gd name="T72" fmla="*/ 32 w 316"/>
                <a:gd name="T73" fmla="*/ 242 h 498"/>
                <a:gd name="T74" fmla="*/ 16 w 316"/>
                <a:gd name="T75" fmla="*/ 276 h 498"/>
                <a:gd name="T76" fmla="*/ 8 w 316"/>
                <a:gd name="T77" fmla="*/ 302 h 498"/>
                <a:gd name="T78" fmla="*/ 24 w 316"/>
                <a:gd name="T79" fmla="*/ 314 h 498"/>
                <a:gd name="T80" fmla="*/ 28 w 316"/>
                <a:gd name="T81" fmla="*/ 334 h 498"/>
                <a:gd name="T82" fmla="*/ 46 w 316"/>
                <a:gd name="T83" fmla="*/ 334 h 498"/>
                <a:gd name="T84" fmla="*/ 44 w 316"/>
                <a:gd name="T85" fmla="*/ 370 h 498"/>
                <a:gd name="T86" fmla="*/ 32 w 316"/>
                <a:gd name="T87" fmla="*/ 414 h 498"/>
                <a:gd name="T88" fmla="*/ 22 w 316"/>
                <a:gd name="T89" fmla="*/ 442 h 498"/>
                <a:gd name="T90" fmla="*/ 2 w 316"/>
                <a:gd name="T91" fmla="*/ 4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6" h="498">
                  <a:moveTo>
                    <a:pt x="2" y="474"/>
                  </a:moveTo>
                  <a:lnTo>
                    <a:pt x="14" y="474"/>
                  </a:lnTo>
                  <a:lnTo>
                    <a:pt x="30" y="474"/>
                  </a:lnTo>
                  <a:lnTo>
                    <a:pt x="42" y="478"/>
                  </a:lnTo>
                  <a:lnTo>
                    <a:pt x="54" y="480"/>
                  </a:lnTo>
                  <a:lnTo>
                    <a:pt x="66" y="484"/>
                  </a:lnTo>
                  <a:lnTo>
                    <a:pt x="72" y="490"/>
                  </a:lnTo>
                  <a:lnTo>
                    <a:pt x="78" y="496"/>
                  </a:lnTo>
                  <a:lnTo>
                    <a:pt x="94" y="498"/>
                  </a:lnTo>
                  <a:lnTo>
                    <a:pt x="106" y="494"/>
                  </a:lnTo>
                  <a:lnTo>
                    <a:pt x="114" y="492"/>
                  </a:lnTo>
                  <a:lnTo>
                    <a:pt x="126" y="490"/>
                  </a:lnTo>
                  <a:lnTo>
                    <a:pt x="128" y="466"/>
                  </a:lnTo>
                  <a:lnTo>
                    <a:pt x="130" y="454"/>
                  </a:lnTo>
                  <a:lnTo>
                    <a:pt x="126" y="448"/>
                  </a:lnTo>
                  <a:lnTo>
                    <a:pt x="136" y="438"/>
                  </a:lnTo>
                  <a:lnTo>
                    <a:pt x="142" y="432"/>
                  </a:lnTo>
                  <a:lnTo>
                    <a:pt x="158" y="412"/>
                  </a:lnTo>
                  <a:lnTo>
                    <a:pt x="166" y="414"/>
                  </a:lnTo>
                  <a:lnTo>
                    <a:pt x="178" y="412"/>
                  </a:lnTo>
                  <a:lnTo>
                    <a:pt x="184" y="402"/>
                  </a:lnTo>
                  <a:lnTo>
                    <a:pt x="186" y="396"/>
                  </a:lnTo>
                  <a:lnTo>
                    <a:pt x="178" y="398"/>
                  </a:lnTo>
                  <a:lnTo>
                    <a:pt x="172" y="394"/>
                  </a:lnTo>
                  <a:lnTo>
                    <a:pt x="170" y="384"/>
                  </a:lnTo>
                  <a:lnTo>
                    <a:pt x="164" y="366"/>
                  </a:lnTo>
                  <a:lnTo>
                    <a:pt x="166" y="358"/>
                  </a:lnTo>
                  <a:lnTo>
                    <a:pt x="170" y="352"/>
                  </a:lnTo>
                  <a:lnTo>
                    <a:pt x="170" y="344"/>
                  </a:lnTo>
                  <a:lnTo>
                    <a:pt x="188" y="334"/>
                  </a:lnTo>
                  <a:lnTo>
                    <a:pt x="198" y="326"/>
                  </a:lnTo>
                  <a:lnTo>
                    <a:pt x="202" y="322"/>
                  </a:lnTo>
                  <a:lnTo>
                    <a:pt x="204" y="314"/>
                  </a:lnTo>
                  <a:lnTo>
                    <a:pt x="202" y="308"/>
                  </a:lnTo>
                  <a:lnTo>
                    <a:pt x="194" y="308"/>
                  </a:lnTo>
                  <a:lnTo>
                    <a:pt x="190" y="302"/>
                  </a:lnTo>
                  <a:lnTo>
                    <a:pt x="186" y="288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0"/>
                  </a:lnTo>
                  <a:lnTo>
                    <a:pt x="176" y="252"/>
                  </a:lnTo>
                  <a:lnTo>
                    <a:pt x="186" y="246"/>
                  </a:lnTo>
                  <a:lnTo>
                    <a:pt x="196" y="248"/>
                  </a:lnTo>
                  <a:lnTo>
                    <a:pt x="204" y="252"/>
                  </a:lnTo>
                  <a:lnTo>
                    <a:pt x="214" y="252"/>
                  </a:lnTo>
                  <a:lnTo>
                    <a:pt x="224" y="238"/>
                  </a:lnTo>
                  <a:lnTo>
                    <a:pt x="230" y="230"/>
                  </a:lnTo>
                  <a:lnTo>
                    <a:pt x="232" y="220"/>
                  </a:lnTo>
                  <a:lnTo>
                    <a:pt x="228" y="214"/>
                  </a:lnTo>
                  <a:lnTo>
                    <a:pt x="226" y="208"/>
                  </a:lnTo>
                  <a:lnTo>
                    <a:pt x="226" y="204"/>
                  </a:lnTo>
                  <a:lnTo>
                    <a:pt x="228" y="200"/>
                  </a:lnTo>
                  <a:lnTo>
                    <a:pt x="232" y="200"/>
                  </a:lnTo>
                  <a:lnTo>
                    <a:pt x="242" y="198"/>
                  </a:lnTo>
                  <a:lnTo>
                    <a:pt x="248" y="178"/>
                  </a:lnTo>
                  <a:lnTo>
                    <a:pt x="254" y="160"/>
                  </a:lnTo>
                  <a:lnTo>
                    <a:pt x="256" y="144"/>
                  </a:lnTo>
                  <a:lnTo>
                    <a:pt x="254" y="136"/>
                  </a:lnTo>
                  <a:lnTo>
                    <a:pt x="252" y="126"/>
                  </a:lnTo>
                  <a:lnTo>
                    <a:pt x="264" y="122"/>
                  </a:lnTo>
                  <a:lnTo>
                    <a:pt x="272" y="116"/>
                  </a:lnTo>
                  <a:lnTo>
                    <a:pt x="286" y="110"/>
                  </a:lnTo>
                  <a:lnTo>
                    <a:pt x="300" y="104"/>
                  </a:lnTo>
                  <a:lnTo>
                    <a:pt x="306" y="100"/>
                  </a:lnTo>
                  <a:lnTo>
                    <a:pt x="314" y="90"/>
                  </a:lnTo>
                  <a:lnTo>
                    <a:pt x="316" y="80"/>
                  </a:lnTo>
                  <a:lnTo>
                    <a:pt x="308" y="74"/>
                  </a:lnTo>
                  <a:lnTo>
                    <a:pt x="300" y="72"/>
                  </a:lnTo>
                  <a:lnTo>
                    <a:pt x="292" y="68"/>
                  </a:lnTo>
                  <a:lnTo>
                    <a:pt x="296" y="60"/>
                  </a:lnTo>
                  <a:lnTo>
                    <a:pt x="300" y="52"/>
                  </a:lnTo>
                  <a:lnTo>
                    <a:pt x="292" y="44"/>
                  </a:lnTo>
                  <a:lnTo>
                    <a:pt x="282" y="40"/>
                  </a:lnTo>
                  <a:lnTo>
                    <a:pt x="272" y="40"/>
                  </a:lnTo>
                  <a:lnTo>
                    <a:pt x="264" y="36"/>
                  </a:lnTo>
                  <a:lnTo>
                    <a:pt x="258" y="32"/>
                  </a:lnTo>
                  <a:lnTo>
                    <a:pt x="254" y="40"/>
                  </a:lnTo>
                  <a:lnTo>
                    <a:pt x="240" y="42"/>
                  </a:lnTo>
                  <a:lnTo>
                    <a:pt x="232" y="40"/>
                  </a:lnTo>
                  <a:lnTo>
                    <a:pt x="228" y="36"/>
                  </a:lnTo>
                  <a:lnTo>
                    <a:pt x="220" y="38"/>
                  </a:lnTo>
                  <a:lnTo>
                    <a:pt x="218" y="30"/>
                  </a:lnTo>
                  <a:lnTo>
                    <a:pt x="206" y="30"/>
                  </a:lnTo>
                  <a:lnTo>
                    <a:pt x="200" y="26"/>
                  </a:lnTo>
                  <a:lnTo>
                    <a:pt x="190" y="32"/>
                  </a:lnTo>
                  <a:lnTo>
                    <a:pt x="182" y="30"/>
                  </a:lnTo>
                  <a:lnTo>
                    <a:pt x="178" y="24"/>
                  </a:lnTo>
                  <a:lnTo>
                    <a:pt x="182" y="16"/>
                  </a:lnTo>
                  <a:lnTo>
                    <a:pt x="192" y="10"/>
                  </a:lnTo>
                  <a:lnTo>
                    <a:pt x="186" y="4"/>
                  </a:lnTo>
                  <a:lnTo>
                    <a:pt x="184" y="0"/>
                  </a:lnTo>
                  <a:lnTo>
                    <a:pt x="174" y="0"/>
                  </a:lnTo>
                  <a:lnTo>
                    <a:pt x="158" y="0"/>
                  </a:lnTo>
                  <a:lnTo>
                    <a:pt x="152" y="2"/>
                  </a:lnTo>
                  <a:lnTo>
                    <a:pt x="134" y="14"/>
                  </a:lnTo>
                  <a:lnTo>
                    <a:pt x="130" y="20"/>
                  </a:lnTo>
                  <a:lnTo>
                    <a:pt x="128" y="38"/>
                  </a:lnTo>
                  <a:lnTo>
                    <a:pt x="126" y="64"/>
                  </a:lnTo>
                  <a:lnTo>
                    <a:pt x="128" y="82"/>
                  </a:lnTo>
                  <a:lnTo>
                    <a:pt x="124" y="100"/>
                  </a:lnTo>
                  <a:lnTo>
                    <a:pt x="118" y="114"/>
                  </a:lnTo>
                  <a:lnTo>
                    <a:pt x="114" y="124"/>
                  </a:lnTo>
                  <a:lnTo>
                    <a:pt x="106" y="140"/>
                  </a:lnTo>
                  <a:lnTo>
                    <a:pt x="98" y="158"/>
                  </a:lnTo>
                  <a:lnTo>
                    <a:pt x="84" y="170"/>
                  </a:lnTo>
                  <a:lnTo>
                    <a:pt x="88" y="178"/>
                  </a:lnTo>
                  <a:lnTo>
                    <a:pt x="80" y="192"/>
                  </a:lnTo>
                  <a:lnTo>
                    <a:pt x="70" y="206"/>
                  </a:lnTo>
                  <a:lnTo>
                    <a:pt x="56" y="224"/>
                  </a:lnTo>
                  <a:lnTo>
                    <a:pt x="44" y="238"/>
                  </a:lnTo>
                  <a:lnTo>
                    <a:pt x="32" y="242"/>
                  </a:lnTo>
                  <a:lnTo>
                    <a:pt x="30" y="252"/>
                  </a:lnTo>
                  <a:lnTo>
                    <a:pt x="20" y="266"/>
                  </a:lnTo>
                  <a:lnTo>
                    <a:pt x="16" y="276"/>
                  </a:lnTo>
                  <a:lnTo>
                    <a:pt x="14" y="288"/>
                  </a:lnTo>
                  <a:lnTo>
                    <a:pt x="6" y="296"/>
                  </a:lnTo>
                  <a:lnTo>
                    <a:pt x="8" y="302"/>
                  </a:lnTo>
                  <a:lnTo>
                    <a:pt x="14" y="304"/>
                  </a:lnTo>
                  <a:lnTo>
                    <a:pt x="24" y="308"/>
                  </a:lnTo>
                  <a:lnTo>
                    <a:pt x="24" y="314"/>
                  </a:lnTo>
                  <a:lnTo>
                    <a:pt x="20" y="322"/>
                  </a:lnTo>
                  <a:lnTo>
                    <a:pt x="22" y="332"/>
                  </a:lnTo>
                  <a:lnTo>
                    <a:pt x="28" y="334"/>
                  </a:lnTo>
                  <a:lnTo>
                    <a:pt x="32" y="334"/>
                  </a:lnTo>
                  <a:lnTo>
                    <a:pt x="40" y="332"/>
                  </a:lnTo>
                  <a:lnTo>
                    <a:pt x="46" y="334"/>
                  </a:lnTo>
                  <a:lnTo>
                    <a:pt x="46" y="342"/>
                  </a:lnTo>
                  <a:lnTo>
                    <a:pt x="50" y="352"/>
                  </a:lnTo>
                  <a:lnTo>
                    <a:pt x="44" y="370"/>
                  </a:lnTo>
                  <a:lnTo>
                    <a:pt x="34" y="384"/>
                  </a:lnTo>
                  <a:lnTo>
                    <a:pt x="36" y="396"/>
                  </a:lnTo>
                  <a:lnTo>
                    <a:pt x="32" y="414"/>
                  </a:lnTo>
                  <a:lnTo>
                    <a:pt x="28" y="418"/>
                  </a:lnTo>
                  <a:lnTo>
                    <a:pt x="26" y="430"/>
                  </a:lnTo>
                  <a:lnTo>
                    <a:pt x="22" y="442"/>
                  </a:lnTo>
                  <a:lnTo>
                    <a:pt x="10" y="458"/>
                  </a:lnTo>
                  <a:lnTo>
                    <a:pt x="0" y="470"/>
                  </a:lnTo>
                  <a:lnTo>
                    <a:pt x="2" y="47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4" name="Freeform 49"/>
            <p:cNvSpPr>
              <a:spLocks/>
            </p:cNvSpPr>
            <p:nvPr/>
          </p:nvSpPr>
          <p:spPr bwMode="gray">
            <a:xfrm>
              <a:off x="1543222" y="5239909"/>
              <a:ext cx="92325" cy="66891"/>
            </a:xfrm>
            <a:custGeom>
              <a:avLst/>
              <a:gdLst>
                <a:gd name="T0" fmla="*/ 26 w 84"/>
                <a:gd name="T1" fmla="*/ 38 h 64"/>
                <a:gd name="T2" fmla="*/ 20 w 84"/>
                <a:gd name="T3" fmla="*/ 34 h 64"/>
                <a:gd name="T4" fmla="*/ 12 w 84"/>
                <a:gd name="T5" fmla="*/ 42 h 64"/>
                <a:gd name="T6" fmla="*/ 2 w 84"/>
                <a:gd name="T7" fmla="*/ 38 h 64"/>
                <a:gd name="T8" fmla="*/ 0 w 84"/>
                <a:gd name="T9" fmla="*/ 28 h 64"/>
                <a:gd name="T10" fmla="*/ 10 w 84"/>
                <a:gd name="T11" fmla="*/ 22 h 64"/>
                <a:gd name="T12" fmla="*/ 24 w 84"/>
                <a:gd name="T13" fmla="*/ 14 h 64"/>
                <a:gd name="T14" fmla="*/ 36 w 84"/>
                <a:gd name="T15" fmla="*/ 6 h 64"/>
                <a:gd name="T16" fmla="*/ 50 w 84"/>
                <a:gd name="T17" fmla="*/ 2 h 64"/>
                <a:gd name="T18" fmla="*/ 68 w 84"/>
                <a:gd name="T19" fmla="*/ 0 h 64"/>
                <a:gd name="T20" fmla="*/ 60 w 84"/>
                <a:gd name="T21" fmla="*/ 10 h 64"/>
                <a:gd name="T22" fmla="*/ 62 w 84"/>
                <a:gd name="T23" fmla="*/ 20 h 64"/>
                <a:gd name="T24" fmla="*/ 72 w 84"/>
                <a:gd name="T25" fmla="*/ 20 h 64"/>
                <a:gd name="T26" fmla="*/ 82 w 84"/>
                <a:gd name="T27" fmla="*/ 18 h 64"/>
                <a:gd name="T28" fmla="*/ 84 w 84"/>
                <a:gd name="T29" fmla="*/ 26 h 64"/>
                <a:gd name="T30" fmla="*/ 76 w 84"/>
                <a:gd name="T31" fmla="*/ 36 h 64"/>
                <a:gd name="T32" fmla="*/ 70 w 84"/>
                <a:gd name="T33" fmla="*/ 46 h 64"/>
                <a:gd name="T34" fmla="*/ 64 w 84"/>
                <a:gd name="T35" fmla="*/ 54 h 64"/>
                <a:gd name="T36" fmla="*/ 54 w 84"/>
                <a:gd name="T37" fmla="*/ 64 h 64"/>
                <a:gd name="T38" fmla="*/ 46 w 84"/>
                <a:gd name="T39" fmla="*/ 62 h 64"/>
                <a:gd name="T40" fmla="*/ 38 w 84"/>
                <a:gd name="T41" fmla="*/ 56 h 64"/>
                <a:gd name="T42" fmla="*/ 28 w 84"/>
                <a:gd name="T43" fmla="*/ 52 h 64"/>
                <a:gd name="T44" fmla="*/ 26 w 84"/>
                <a:gd name="T45" fmla="*/ 42 h 64"/>
                <a:gd name="T46" fmla="*/ 26 w 84"/>
                <a:gd name="T47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" h="64">
                  <a:moveTo>
                    <a:pt x="26" y="38"/>
                  </a:moveTo>
                  <a:lnTo>
                    <a:pt x="20" y="34"/>
                  </a:lnTo>
                  <a:lnTo>
                    <a:pt x="12" y="42"/>
                  </a:lnTo>
                  <a:lnTo>
                    <a:pt x="2" y="38"/>
                  </a:lnTo>
                  <a:lnTo>
                    <a:pt x="0" y="28"/>
                  </a:lnTo>
                  <a:lnTo>
                    <a:pt x="10" y="22"/>
                  </a:lnTo>
                  <a:lnTo>
                    <a:pt x="24" y="14"/>
                  </a:lnTo>
                  <a:lnTo>
                    <a:pt x="36" y="6"/>
                  </a:lnTo>
                  <a:lnTo>
                    <a:pt x="50" y="2"/>
                  </a:lnTo>
                  <a:lnTo>
                    <a:pt x="68" y="0"/>
                  </a:lnTo>
                  <a:lnTo>
                    <a:pt x="60" y="10"/>
                  </a:lnTo>
                  <a:lnTo>
                    <a:pt x="62" y="20"/>
                  </a:lnTo>
                  <a:lnTo>
                    <a:pt x="72" y="20"/>
                  </a:lnTo>
                  <a:lnTo>
                    <a:pt x="82" y="18"/>
                  </a:lnTo>
                  <a:lnTo>
                    <a:pt x="84" y="26"/>
                  </a:lnTo>
                  <a:lnTo>
                    <a:pt x="76" y="36"/>
                  </a:lnTo>
                  <a:lnTo>
                    <a:pt x="70" y="46"/>
                  </a:lnTo>
                  <a:lnTo>
                    <a:pt x="64" y="54"/>
                  </a:lnTo>
                  <a:lnTo>
                    <a:pt x="54" y="64"/>
                  </a:lnTo>
                  <a:lnTo>
                    <a:pt x="46" y="62"/>
                  </a:lnTo>
                  <a:lnTo>
                    <a:pt x="38" y="56"/>
                  </a:lnTo>
                  <a:lnTo>
                    <a:pt x="28" y="52"/>
                  </a:lnTo>
                  <a:lnTo>
                    <a:pt x="26" y="42"/>
                  </a:lnTo>
                  <a:lnTo>
                    <a:pt x="26" y="3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5" name="Freeform 50"/>
            <p:cNvSpPr>
              <a:spLocks/>
            </p:cNvSpPr>
            <p:nvPr/>
          </p:nvSpPr>
          <p:spPr bwMode="gray">
            <a:xfrm>
              <a:off x="1436258" y="5310654"/>
              <a:ext cx="34789" cy="26756"/>
            </a:xfrm>
            <a:custGeom>
              <a:avLst/>
              <a:gdLst>
                <a:gd name="T0" fmla="*/ 12 w 32"/>
                <a:gd name="T1" fmla="*/ 6 h 26"/>
                <a:gd name="T2" fmla="*/ 20 w 32"/>
                <a:gd name="T3" fmla="*/ 2 h 26"/>
                <a:gd name="T4" fmla="*/ 32 w 32"/>
                <a:gd name="T5" fmla="*/ 0 h 26"/>
                <a:gd name="T6" fmla="*/ 32 w 32"/>
                <a:gd name="T7" fmla="*/ 10 h 26"/>
                <a:gd name="T8" fmla="*/ 22 w 32"/>
                <a:gd name="T9" fmla="*/ 20 h 26"/>
                <a:gd name="T10" fmla="*/ 12 w 32"/>
                <a:gd name="T11" fmla="*/ 26 h 26"/>
                <a:gd name="T12" fmla="*/ 6 w 32"/>
                <a:gd name="T13" fmla="*/ 26 h 26"/>
                <a:gd name="T14" fmla="*/ 2 w 32"/>
                <a:gd name="T15" fmla="*/ 26 h 26"/>
                <a:gd name="T16" fmla="*/ 0 w 32"/>
                <a:gd name="T17" fmla="*/ 24 h 26"/>
                <a:gd name="T18" fmla="*/ 2 w 32"/>
                <a:gd name="T19" fmla="*/ 12 h 26"/>
                <a:gd name="T20" fmla="*/ 12 w 32"/>
                <a:gd name="T21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6">
                  <a:moveTo>
                    <a:pt x="12" y="6"/>
                  </a:moveTo>
                  <a:lnTo>
                    <a:pt x="20" y="2"/>
                  </a:lnTo>
                  <a:lnTo>
                    <a:pt x="32" y="0"/>
                  </a:lnTo>
                  <a:lnTo>
                    <a:pt x="32" y="10"/>
                  </a:lnTo>
                  <a:lnTo>
                    <a:pt x="22" y="20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6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6" name="Freeform 51"/>
            <p:cNvSpPr>
              <a:spLocks/>
            </p:cNvSpPr>
            <p:nvPr/>
          </p:nvSpPr>
          <p:spPr bwMode="gray">
            <a:xfrm>
              <a:off x="1668998" y="5231723"/>
              <a:ext cx="40142" cy="30770"/>
            </a:xfrm>
            <a:custGeom>
              <a:avLst/>
              <a:gdLst>
                <a:gd name="T0" fmla="*/ 16 w 38"/>
                <a:gd name="T1" fmla="*/ 18 h 30"/>
                <a:gd name="T2" fmla="*/ 6 w 38"/>
                <a:gd name="T3" fmla="*/ 18 h 30"/>
                <a:gd name="T4" fmla="*/ 0 w 38"/>
                <a:gd name="T5" fmla="*/ 10 h 30"/>
                <a:gd name="T6" fmla="*/ 0 w 38"/>
                <a:gd name="T7" fmla="*/ 2 h 30"/>
                <a:gd name="T8" fmla="*/ 12 w 38"/>
                <a:gd name="T9" fmla="*/ 0 h 30"/>
                <a:gd name="T10" fmla="*/ 24 w 38"/>
                <a:gd name="T11" fmla="*/ 2 h 30"/>
                <a:gd name="T12" fmla="*/ 34 w 38"/>
                <a:gd name="T13" fmla="*/ 8 h 30"/>
                <a:gd name="T14" fmla="*/ 38 w 38"/>
                <a:gd name="T15" fmla="*/ 22 h 30"/>
                <a:gd name="T16" fmla="*/ 36 w 38"/>
                <a:gd name="T17" fmla="*/ 30 h 30"/>
                <a:gd name="T18" fmla="*/ 26 w 38"/>
                <a:gd name="T19" fmla="*/ 24 h 30"/>
                <a:gd name="T20" fmla="*/ 16 w 38"/>
                <a:gd name="T2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30">
                  <a:moveTo>
                    <a:pt x="16" y="18"/>
                  </a:moveTo>
                  <a:lnTo>
                    <a:pt x="6" y="18"/>
                  </a:lnTo>
                  <a:lnTo>
                    <a:pt x="0" y="10"/>
                  </a:lnTo>
                  <a:lnTo>
                    <a:pt x="0" y="2"/>
                  </a:lnTo>
                  <a:lnTo>
                    <a:pt x="12" y="0"/>
                  </a:lnTo>
                  <a:lnTo>
                    <a:pt x="24" y="2"/>
                  </a:lnTo>
                  <a:lnTo>
                    <a:pt x="34" y="8"/>
                  </a:lnTo>
                  <a:lnTo>
                    <a:pt x="38" y="22"/>
                  </a:lnTo>
                  <a:lnTo>
                    <a:pt x="36" y="30"/>
                  </a:lnTo>
                  <a:lnTo>
                    <a:pt x="26" y="24"/>
                  </a:lnTo>
                  <a:lnTo>
                    <a:pt x="16" y="1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7" name="Freeform 52"/>
            <p:cNvSpPr>
              <a:spLocks/>
            </p:cNvSpPr>
            <p:nvPr/>
          </p:nvSpPr>
          <p:spPr bwMode="gray">
            <a:xfrm>
              <a:off x="1928659" y="4530703"/>
              <a:ext cx="963392" cy="923098"/>
            </a:xfrm>
            <a:custGeom>
              <a:avLst/>
              <a:gdLst>
                <a:gd name="T0" fmla="*/ 459 w 879"/>
                <a:gd name="T1" fmla="*/ 122 h 886"/>
                <a:gd name="T2" fmla="*/ 411 w 879"/>
                <a:gd name="T3" fmla="*/ 158 h 886"/>
                <a:gd name="T4" fmla="*/ 395 w 879"/>
                <a:gd name="T5" fmla="*/ 190 h 886"/>
                <a:gd name="T6" fmla="*/ 389 w 879"/>
                <a:gd name="T7" fmla="*/ 232 h 886"/>
                <a:gd name="T8" fmla="*/ 415 w 879"/>
                <a:gd name="T9" fmla="*/ 294 h 886"/>
                <a:gd name="T10" fmla="*/ 471 w 879"/>
                <a:gd name="T11" fmla="*/ 334 h 886"/>
                <a:gd name="T12" fmla="*/ 519 w 879"/>
                <a:gd name="T13" fmla="*/ 416 h 886"/>
                <a:gd name="T14" fmla="*/ 583 w 879"/>
                <a:gd name="T15" fmla="*/ 480 h 886"/>
                <a:gd name="T16" fmla="*/ 679 w 879"/>
                <a:gd name="T17" fmla="*/ 486 h 886"/>
                <a:gd name="T18" fmla="*/ 671 w 879"/>
                <a:gd name="T19" fmla="*/ 528 h 886"/>
                <a:gd name="T20" fmla="*/ 775 w 879"/>
                <a:gd name="T21" fmla="*/ 574 h 886"/>
                <a:gd name="T22" fmla="*/ 839 w 879"/>
                <a:gd name="T23" fmla="*/ 610 h 886"/>
                <a:gd name="T24" fmla="*/ 879 w 879"/>
                <a:gd name="T25" fmla="*/ 654 h 886"/>
                <a:gd name="T26" fmla="*/ 853 w 879"/>
                <a:gd name="T27" fmla="*/ 676 h 886"/>
                <a:gd name="T28" fmla="*/ 801 w 879"/>
                <a:gd name="T29" fmla="*/ 638 h 886"/>
                <a:gd name="T30" fmla="*/ 755 w 879"/>
                <a:gd name="T31" fmla="*/ 626 h 886"/>
                <a:gd name="T32" fmla="*/ 739 w 879"/>
                <a:gd name="T33" fmla="*/ 678 h 886"/>
                <a:gd name="T34" fmla="*/ 755 w 879"/>
                <a:gd name="T35" fmla="*/ 712 h 886"/>
                <a:gd name="T36" fmla="*/ 785 w 879"/>
                <a:gd name="T37" fmla="*/ 758 h 886"/>
                <a:gd name="T38" fmla="*/ 745 w 879"/>
                <a:gd name="T39" fmla="*/ 796 h 886"/>
                <a:gd name="T40" fmla="*/ 723 w 879"/>
                <a:gd name="T41" fmla="*/ 854 h 886"/>
                <a:gd name="T42" fmla="*/ 685 w 879"/>
                <a:gd name="T43" fmla="*/ 884 h 886"/>
                <a:gd name="T44" fmla="*/ 693 w 879"/>
                <a:gd name="T45" fmla="*/ 834 h 886"/>
                <a:gd name="T46" fmla="*/ 715 w 879"/>
                <a:gd name="T47" fmla="*/ 798 h 886"/>
                <a:gd name="T48" fmla="*/ 683 w 879"/>
                <a:gd name="T49" fmla="*/ 720 h 886"/>
                <a:gd name="T50" fmla="*/ 645 w 879"/>
                <a:gd name="T51" fmla="*/ 682 h 886"/>
                <a:gd name="T52" fmla="*/ 607 w 879"/>
                <a:gd name="T53" fmla="*/ 638 h 886"/>
                <a:gd name="T54" fmla="*/ 561 w 879"/>
                <a:gd name="T55" fmla="*/ 628 h 886"/>
                <a:gd name="T56" fmla="*/ 547 w 879"/>
                <a:gd name="T57" fmla="*/ 606 h 886"/>
                <a:gd name="T58" fmla="*/ 525 w 879"/>
                <a:gd name="T59" fmla="*/ 608 h 886"/>
                <a:gd name="T60" fmla="*/ 503 w 879"/>
                <a:gd name="T61" fmla="*/ 568 h 886"/>
                <a:gd name="T62" fmla="*/ 465 w 879"/>
                <a:gd name="T63" fmla="*/ 574 h 886"/>
                <a:gd name="T64" fmla="*/ 417 w 879"/>
                <a:gd name="T65" fmla="*/ 536 h 886"/>
                <a:gd name="T66" fmla="*/ 365 w 879"/>
                <a:gd name="T67" fmla="*/ 494 h 886"/>
                <a:gd name="T68" fmla="*/ 317 w 879"/>
                <a:gd name="T69" fmla="*/ 466 h 886"/>
                <a:gd name="T70" fmla="*/ 301 w 879"/>
                <a:gd name="T71" fmla="*/ 428 h 886"/>
                <a:gd name="T72" fmla="*/ 271 w 879"/>
                <a:gd name="T73" fmla="*/ 384 h 886"/>
                <a:gd name="T74" fmla="*/ 245 w 879"/>
                <a:gd name="T75" fmla="*/ 308 h 886"/>
                <a:gd name="T76" fmla="*/ 172 w 879"/>
                <a:gd name="T77" fmla="*/ 272 h 886"/>
                <a:gd name="T78" fmla="*/ 120 w 879"/>
                <a:gd name="T79" fmla="*/ 286 h 886"/>
                <a:gd name="T80" fmla="*/ 74 w 879"/>
                <a:gd name="T81" fmla="*/ 320 h 886"/>
                <a:gd name="T82" fmla="*/ 70 w 879"/>
                <a:gd name="T83" fmla="*/ 296 h 886"/>
                <a:gd name="T84" fmla="*/ 14 w 879"/>
                <a:gd name="T85" fmla="*/ 262 h 886"/>
                <a:gd name="T86" fmla="*/ 24 w 879"/>
                <a:gd name="T87" fmla="*/ 216 h 886"/>
                <a:gd name="T88" fmla="*/ 8 w 879"/>
                <a:gd name="T89" fmla="*/ 186 h 886"/>
                <a:gd name="T90" fmla="*/ 38 w 879"/>
                <a:gd name="T91" fmla="*/ 164 h 886"/>
                <a:gd name="T92" fmla="*/ 18 w 879"/>
                <a:gd name="T93" fmla="*/ 118 h 886"/>
                <a:gd name="T94" fmla="*/ 72 w 879"/>
                <a:gd name="T95" fmla="*/ 108 h 886"/>
                <a:gd name="T96" fmla="*/ 104 w 879"/>
                <a:gd name="T97" fmla="*/ 80 h 886"/>
                <a:gd name="T98" fmla="*/ 142 w 879"/>
                <a:gd name="T99" fmla="*/ 98 h 886"/>
                <a:gd name="T100" fmla="*/ 170 w 879"/>
                <a:gd name="T101" fmla="*/ 124 h 886"/>
                <a:gd name="T102" fmla="*/ 195 w 879"/>
                <a:gd name="T103" fmla="*/ 62 h 886"/>
                <a:gd name="T104" fmla="*/ 245 w 879"/>
                <a:gd name="T105" fmla="*/ 84 h 886"/>
                <a:gd name="T106" fmla="*/ 253 w 879"/>
                <a:gd name="T107" fmla="*/ 56 h 886"/>
                <a:gd name="T108" fmla="*/ 265 w 879"/>
                <a:gd name="T109" fmla="*/ 26 h 886"/>
                <a:gd name="T110" fmla="*/ 315 w 879"/>
                <a:gd name="T111" fmla="*/ 12 h 886"/>
                <a:gd name="T112" fmla="*/ 375 w 879"/>
                <a:gd name="T113" fmla="*/ 16 h 886"/>
                <a:gd name="T114" fmla="*/ 435 w 879"/>
                <a:gd name="T115" fmla="*/ 46 h 886"/>
                <a:gd name="T116" fmla="*/ 469 w 879"/>
                <a:gd name="T117" fmla="*/ 98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9" h="886">
                  <a:moveTo>
                    <a:pt x="479" y="118"/>
                  </a:moveTo>
                  <a:lnTo>
                    <a:pt x="477" y="124"/>
                  </a:lnTo>
                  <a:lnTo>
                    <a:pt x="469" y="136"/>
                  </a:lnTo>
                  <a:lnTo>
                    <a:pt x="461" y="132"/>
                  </a:lnTo>
                  <a:lnTo>
                    <a:pt x="459" y="122"/>
                  </a:lnTo>
                  <a:lnTo>
                    <a:pt x="447" y="126"/>
                  </a:lnTo>
                  <a:lnTo>
                    <a:pt x="447" y="138"/>
                  </a:lnTo>
                  <a:lnTo>
                    <a:pt x="431" y="144"/>
                  </a:lnTo>
                  <a:lnTo>
                    <a:pt x="423" y="154"/>
                  </a:lnTo>
                  <a:lnTo>
                    <a:pt x="411" y="158"/>
                  </a:lnTo>
                  <a:lnTo>
                    <a:pt x="403" y="154"/>
                  </a:lnTo>
                  <a:lnTo>
                    <a:pt x="389" y="158"/>
                  </a:lnTo>
                  <a:lnTo>
                    <a:pt x="391" y="168"/>
                  </a:lnTo>
                  <a:lnTo>
                    <a:pt x="383" y="176"/>
                  </a:lnTo>
                  <a:lnTo>
                    <a:pt x="395" y="190"/>
                  </a:lnTo>
                  <a:lnTo>
                    <a:pt x="397" y="200"/>
                  </a:lnTo>
                  <a:lnTo>
                    <a:pt x="409" y="206"/>
                  </a:lnTo>
                  <a:lnTo>
                    <a:pt x="403" y="222"/>
                  </a:lnTo>
                  <a:lnTo>
                    <a:pt x="391" y="224"/>
                  </a:lnTo>
                  <a:lnTo>
                    <a:pt x="389" y="232"/>
                  </a:lnTo>
                  <a:lnTo>
                    <a:pt x="399" y="248"/>
                  </a:lnTo>
                  <a:lnTo>
                    <a:pt x="391" y="254"/>
                  </a:lnTo>
                  <a:lnTo>
                    <a:pt x="397" y="272"/>
                  </a:lnTo>
                  <a:lnTo>
                    <a:pt x="407" y="286"/>
                  </a:lnTo>
                  <a:lnTo>
                    <a:pt x="415" y="294"/>
                  </a:lnTo>
                  <a:lnTo>
                    <a:pt x="425" y="304"/>
                  </a:lnTo>
                  <a:lnTo>
                    <a:pt x="433" y="304"/>
                  </a:lnTo>
                  <a:lnTo>
                    <a:pt x="445" y="312"/>
                  </a:lnTo>
                  <a:lnTo>
                    <a:pt x="459" y="326"/>
                  </a:lnTo>
                  <a:lnTo>
                    <a:pt x="471" y="334"/>
                  </a:lnTo>
                  <a:lnTo>
                    <a:pt x="487" y="336"/>
                  </a:lnTo>
                  <a:lnTo>
                    <a:pt x="493" y="344"/>
                  </a:lnTo>
                  <a:lnTo>
                    <a:pt x="499" y="364"/>
                  </a:lnTo>
                  <a:lnTo>
                    <a:pt x="511" y="388"/>
                  </a:lnTo>
                  <a:lnTo>
                    <a:pt x="519" y="416"/>
                  </a:lnTo>
                  <a:lnTo>
                    <a:pt x="537" y="444"/>
                  </a:lnTo>
                  <a:lnTo>
                    <a:pt x="559" y="460"/>
                  </a:lnTo>
                  <a:lnTo>
                    <a:pt x="571" y="472"/>
                  </a:lnTo>
                  <a:lnTo>
                    <a:pt x="581" y="472"/>
                  </a:lnTo>
                  <a:lnTo>
                    <a:pt x="583" y="480"/>
                  </a:lnTo>
                  <a:lnTo>
                    <a:pt x="601" y="486"/>
                  </a:lnTo>
                  <a:lnTo>
                    <a:pt x="613" y="496"/>
                  </a:lnTo>
                  <a:lnTo>
                    <a:pt x="639" y="494"/>
                  </a:lnTo>
                  <a:lnTo>
                    <a:pt x="663" y="490"/>
                  </a:lnTo>
                  <a:lnTo>
                    <a:pt x="679" y="486"/>
                  </a:lnTo>
                  <a:lnTo>
                    <a:pt x="687" y="492"/>
                  </a:lnTo>
                  <a:lnTo>
                    <a:pt x="689" y="504"/>
                  </a:lnTo>
                  <a:lnTo>
                    <a:pt x="679" y="512"/>
                  </a:lnTo>
                  <a:lnTo>
                    <a:pt x="671" y="518"/>
                  </a:lnTo>
                  <a:lnTo>
                    <a:pt x="671" y="528"/>
                  </a:lnTo>
                  <a:lnTo>
                    <a:pt x="683" y="540"/>
                  </a:lnTo>
                  <a:lnTo>
                    <a:pt x="713" y="550"/>
                  </a:lnTo>
                  <a:lnTo>
                    <a:pt x="733" y="560"/>
                  </a:lnTo>
                  <a:lnTo>
                    <a:pt x="759" y="564"/>
                  </a:lnTo>
                  <a:lnTo>
                    <a:pt x="775" y="574"/>
                  </a:lnTo>
                  <a:lnTo>
                    <a:pt x="789" y="584"/>
                  </a:lnTo>
                  <a:lnTo>
                    <a:pt x="809" y="592"/>
                  </a:lnTo>
                  <a:lnTo>
                    <a:pt x="825" y="598"/>
                  </a:lnTo>
                  <a:lnTo>
                    <a:pt x="837" y="602"/>
                  </a:lnTo>
                  <a:lnTo>
                    <a:pt x="839" y="610"/>
                  </a:lnTo>
                  <a:lnTo>
                    <a:pt x="853" y="618"/>
                  </a:lnTo>
                  <a:lnTo>
                    <a:pt x="863" y="624"/>
                  </a:lnTo>
                  <a:lnTo>
                    <a:pt x="875" y="638"/>
                  </a:lnTo>
                  <a:lnTo>
                    <a:pt x="879" y="650"/>
                  </a:lnTo>
                  <a:lnTo>
                    <a:pt x="879" y="654"/>
                  </a:lnTo>
                  <a:lnTo>
                    <a:pt x="873" y="660"/>
                  </a:lnTo>
                  <a:lnTo>
                    <a:pt x="873" y="672"/>
                  </a:lnTo>
                  <a:lnTo>
                    <a:pt x="871" y="678"/>
                  </a:lnTo>
                  <a:lnTo>
                    <a:pt x="861" y="678"/>
                  </a:lnTo>
                  <a:lnTo>
                    <a:pt x="853" y="676"/>
                  </a:lnTo>
                  <a:lnTo>
                    <a:pt x="841" y="666"/>
                  </a:lnTo>
                  <a:lnTo>
                    <a:pt x="841" y="652"/>
                  </a:lnTo>
                  <a:lnTo>
                    <a:pt x="831" y="640"/>
                  </a:lnTo>
                  <a:lnTo>
                    <a:pt x="821" y="636"/>
                  </a:lnTo>
                  <a:lnTo>
                    <a:pt x="801" y="638"/>
                  </a:lnTo>
                  <a:lnTo>
                    <a:pt x="789" y="634"/>
                  </a:lnTo>
                  <a:lnTo>
                    <a:pt x="779" y="630"/>
                  </a:lnTo>
                  <a:lnTo>
                    <a:pt x="779" y="622"/>
                  </a:lnTo>
                  <a:lnTo>
                    <a:pt x="765" y="620"/>
                  </a:lnTo>
                  <a:lnTo>
                    <a:pt x="755" y="626"/>
                  </a:lnTo>
                  <a:lnTo>
                    <a:pt x="747" y="642"/>
                  </a:lnTo>
                  <a:lnTo>
                    <a:pt x="743" y="654"/>
                  </a:lnTo>
                  <a:lnTo>
                    <a:pt x="735" y="664"/>
                  </a:lnTo>
                  <a:lnTo>
                    <a:pt x="735" y="672"/>
                  </a:lnTo>
                  <a:lnTo>
                    <a:pt x="739" y="678"/>
                  </a:lnTo>
                  <a:lnTo>
                    <a:pt x="731" y="686"/>
                  </a:lnTo>
                  <a:lnTo>
                    <a:pt x="729" y="694"/>
                  </a:lnTo>
                  <a:lnTo>
                    <a:pt x="733" y="708"/>
                  </a:lnTo>
                  <a:lnTo>
                    <a:pt x="741" y="712"/>
                  </a:lnTo>
                  <a:lnTo>
                    <a:pt x="755" y="712"/>
                  </a:lnTo>
                  <a:lnTo>
                    <a:pt x="765" y="720"/>
                  </a:lnTo>
                  <a:lnTo>
                    <a:pt x="773" y="724"/>
                  </a:lnTo>
                  <a:lnTo>
                    <a:pt x="781" y="730"/>
                  </a:lnTo>
                  <a:lnTo>
                    <a:pt x="783" y="746"/>
                  </a:lnTo>
                  <a:lnTo>
                    <a:pt x="785" y="758"/>
                  </a:lnTo>
                  <a:lnTo>
                    <a:pt x="789" y="766"/>
                  </a:lnTo>
                  <a:lnTo>
                    <a:pt x="785" y="778"/>
                  </a:lnTo>
                  <a:lnTo>
                    <a:pt x="767" y="776"/>
                  </a:lnTo>
                  <a:lnTo>
                    <a:pt x="753" y="786"/>
                  </a:lnTo>
                  <a:lnTo>
                    <a:pt x="745" y="796"/>
                  </a:lnTo>
                  <a:lnTo>
                    <a:pt x="743" y="808"/>
                  </a:lnTo>
                  <a:lnTo>
                    <a:pt x="747" y="818"/>
                  </a:lnTo>
                  <a:lnTo>
                    <a:pt x="747" y="832"/>
                  </a:lnTo>
                  <a:lnTo>
                    <a:pt x="735" y="840"/>
                  </a:lnTo>
                  <a:lnTo>
                    <a:pt x="723" y="854"/>
                  </a:lnTo>
                  <a:lnTo>
                    <a:pt x="717" y="862"/>
                  </a:lnTo>
                  <a:lnTo>
                    <a:pt x="717" y="874"/>
                  </a:lnTo>
                  <a:lnTo>
                    <a:pt x="711" y="884"/>
                  </a:lnTo>
                  <a:lnTo>
                    <a:pt x="697" y="886"/>
                  </a:lnTo>
                  <a:lnTo>
                    <a:pt x="685" y="884"/>
                  </a:lnTo>
                  <a:lnTo>
                    <a:pt x="679" y="874"/>
                  </a:lnTo>
                  <a:lnTo>
                    <a:pt x="679" y="862"/>
                  </a:lnTo>
                  <a:lnTo>
                    <a:pt x="679" y="854"/>
                  </a:lnTo>
                  <a:lnTo>
                    <a:pt x="689" y="846"/>
                  </a:lnTo>
                  <a:lnTo>
                    <a:pt x="693" y="834"/>
                  </a:lnTo>
                  <a:lnTo>
                    <a:pt x="697" y="822"/>
                  </a:lnTo>
                  <a:lnTo>
                    <a:pt x="689" y="816"/>
                  </a:lnTo>
                  <a:lnTo>
                    <a:pt x="691" y="808"/>
                  </a:lnTo>
                  <a:lnTo>
                    <a:pt x="707" y="804"/>
                  </a:lnTo>
                  <a:lnTo>
                    <a:pt x="715" y="798"/>
                  </a:lnTo>
                  <a:lnTo>
                    <a:pt x="715" y="784"/>
                  </a:lnTo>
                  <a:lnTo>
                    <a:pt x="701" y="766"/>
                  </a:lnTo>
                  <a:lnTo>
                    <a:pt x="701" y="748"/>
                  </a:lnTo>
                  <a:lnTo>
                    <a:pt x="693" y="730"/>
                  </a:lnTo>
                  <a:lnTo>
                    <a:pt x="683" y="720"/>
                  </a:lnTo>
                  <a:lnTo>
                    <a:pt x="677" y="700"/>
                  </a:lnTo>
                  <a:lnTo>
                    <a:pt x="673" y="688"/>
                  </a:lnTo>
                  <a:lnTo>
                    <a:pt x="665" y="676"/>
                  </a:lnTo>
                  <a:lnTo>
                    <a:pt x="653" y="674"/>
                  </a:lnTo>
                  <a:lnTo>
                    <a:pt x="645" y="682"/>
                  </a:lnTo>
                  <a:lnTo>
                    <a:pt x="639" y="680"/>
                  </a:lnTo>
                  <a:lnTo>
                    <a:pt x="627" y="670"/>
                  </a:lnTo>
                  <a:lnTo>
                    <a:pt x="613" y="666"/>
                  </a:lnTo>
                  <a:lnTo>
                    <a:pt x="605" y="654"/>
                  </a:lnTo>
                  <a:lnTo>
                    <a:pt x="607" y="638"/>
                  </a:lnTo>
                  <a:lnTo>
                    <a:pt x="599" y="626"/>
                  </a:lnTo>
                  <a:lnTo>
                    <a:pt x="591" y="620"/>
                  </a:lnTo>
                  <a:lnTo>
                    <a:pt x="579" y="624"/>
                  </a:lnTo>
                  <a:lnTo>
                    <a:pt x="569" y="626"/>
                  </a:lnTo>
                  <a:lnTo>
                    <a:pt x="561" y="628"/>
                  </a:lnTo>
                  <a:lnTo>
                    <a:pt x="565" y="620"/>
                  </a:lnTo>
                  <a:lnTo>
                    <a:pt x="565" y="614"/>
                  </a:lnTo>
                  <a:lnTo>
                    <a:pt x="561" y="608"/>
                  </a:lnTo>
                  <a:lnTo>
                    <a:pt x="553" y="602"/>
                  </a:lnTo>
                  <a:lnTo>
                    <a:pt x="547" y="606"/>
                  </a:lnTo>
                  <a:lnTo>
                    <a:pt x="545" y="610"/>
                  </a:lnTo>
                  <a:lnTo>
                    <a:pt x="539" y="610"/>
                  </a:lnTo>
                  <a:lnTo>
                    <a:pt x="533" y="610"/>
                  </a:lnTo>
                  <a:lnTo>
                    <a:pt x="531" y="612"/>
                  </a:lnTo>
                  <a:lnTo>
                    <a:pt x="525" y="608"/>
                  </a:lnTo>
                  <a:lnTo>
                    <a:pt x="531" y="598"/>
                  </a:lnTo>
                  <a:lnTo>
                    <a:pt x="525" y="582"/>
                  </a:lnTo>
                  <a:lnTo>
                    <a:pt x="517" y="574"/>
                  </a:lnTo>
                  <a:lnTo>
                    <a:pt x="509" y="568"/>
                  </a:lnTo>
                  <a:lnTo>
                    <a:pt x="503" y="568"/>
                  </a:lnTo>
                  <a:lnTo>
                    <a:pt x="497" y="572"/>
                  </a:lnTo>
                  <a:lnTo>
                    <a:pt x="487" y="568"/>
                  </a:lnTo>
                  <a:lnTo>
                    <a:pt x="477" y="566"/>
                  </a:lnTo>
                  <a:lnTo>
                    <a:pt x="469" y="568"/>
                  </a:lnTo>
                  <a:lnTo>
                    <a:pt x="465" y="574"/>
                  </a:lnTo>
                  <a:lnTo>
                    <a:pt x="457" y="566"/>
                  </a:lnTo>
                  <a:lnTo>
                    <a:pt x="451" y="554"/>
                  </a:lnTo>
                  <a:lnTo>
                    <a:pt x="443" y="554"/>
                  </a:lnTo>
                  <a:lnTo>
                    <a:pt x="429" y="550"/>
                  </a:lnTo>
                  <a:lnTo>
                    <a:pt x="417" y="536"/>
                  </a:lnTo>
                  <a:lnTo>
                    <a:pt x="407" y="528"/>
                  </a:lnTo>
                  <a:lnTo>
                    <a:pt x="397" y="524"/>
                  </a:lnTo>
                  <a:lnTo>
                    <a:pt x="389" y="506"/>
                  </a:lnTo>
                  <a:lnTo>
                    <a:pt x="379" y="498"/>
                  </a:lnTo>
                  <a:lnTo>
                    <a:pt x="365" y="494"/>
                  </a:lnTo>
                  <a:lnTo>
                    <a:pt x="361" y="484"/>
                  </a:lnTo>
                  <a:lnTo>
                    <a:pt x="351" y="470"/>
                  </a:lnTo>
                  <a:lnTo>
                    <a:pt x="339" y="464"/>
                  </a:lnTo>
                  <a:lnTo>
                    <a:pt x="329" y="462"/>
                  </a:lnTo>
                  <a:lnTo>
                    <a:pt x="317" y="466"/>
                  </a:lnTo>
                  <a:lnTo>
                    <a:pt x="313" y="460"/>
                  </a:lnTo>
                  <a:lnTo>
                    <a:pt x="319" y="456"/>
                  </a:lnTo>
                  <a:lnTo>
                    <a:pt x="321" y="448"/>
                  </a:lnTo>
                  <a:lnTo>
                    <a:pt x="309" y="438"/>
                  </a:lnTo>
                  <a:lnTo>
                    <a:pt x="301" y="428"/>
                  </a:lnTo>
                  <a:lnTo>
                    <a:pt x="287" y="422"/>
                  </a:lnTo>
                  <a:lnTo>
                    <a:pt x="289" y="412"/>
                  </a:lnTo>
                  <a:lnTo>
                    <a:pt x="281" y="408"/>
                  </a:lnTo>
                  <a:lnTo>
                    <a:pt x="271" y="406"/>
                  </a:lnTo>
                  <a:lnTo>
                    <a:pt x="271" y="384"/>
                  </a:lnTo>
                  <a:lnTo>
                    <a:pt x="265" y="366"/>
                  </a:lnTo>
                  <a:lnTo>
                    <a:pt x="253" y="352"/>
                  </a:lnTo>
                  <a:lnTo>
                    <a:pt x="253" y="338"/>
                  </a:lnTo>
                  <a:lnTo>
                    <a:pt x="251" y="320"/>
                  </a:lnTo>
                  <a:lnTo>
                    <a:pt x="245" y="308"/>
                  </a:lnTo>
                  <a:lnTo>
                    <a:pt x="231" y="298"/>
                  </a:lnTo>
                  <a:lnTo>
                    <a:pt x="215" y="298"/>
                  </a:lnTo>
                  <a:lnTo>
                    <a:pt x="195" y="284"/>
                  </a:lnTo>
                  <a:lnTo>
                    <a:pt x="180" y="274"/>
                  </a:lnTo>
                  <a:lnTo>
                    <a:pt x="172" y="272"/>
                  </a:lnTo>
                  <a:lnTo>
                    <a:pt x="164" y="266"/>
                  </a:lnTo>
                  <a:lnTo>
                    <a:pt x="146" y="264"/>
                  </a:lnTo>
                  <a:lnTo>
                    <a:pt x="136" y="268"/>
                  </a:lnTo>
                  <a:lnTo>
                    <a:pt x="126" y="274"/>
                  </a:lnTo>
                  <a:lnTo>
                    <a:pt x="120" y="286"/>
                  </a:lnTo>
                  <a:lnTo>
                    <a:pt x="112" y="292"/>
                  </a:lnTo>
                  <a:lnTo>
                    <a:pt x="108" y="298"/>
                  </a:lnTo>
                  <a:lnTo>
                    <a:pt x="102" y="310"/>
                  </a:lnTo>
                  <a:lnTo>
                    <a:pt x="86" y="318"/>
                  </a:lnTo>
                  <a:lnTo>
                    <a:pt x="74" y="320"/>
                  </a:lnTo>
                  <a:lnTo>
                    <a:pt x="68" y="324"/>
                  </a:lnTo>
                  <a:lnTo>
                    <a:pt x="60" y="324"/>
                  </a:lnTo>
                  <a:lnTo>
                    <a:pt x="56" y="312"/>
                  </a:lnTo>
                  <a:lnTo>
                    <a:pt x="64" y="300"/>
                  </a:lnTo>
                  <a:lnTo>
                    <a:pt x="70" y="296"/>
                  </a:lnTo>
                  <a:lnTo>
                    <a:pt x="66" y="286"/>
                  </a:lnTo>
                  <a:lnTo>
                    <a:pt x="48" y="286"/>
                  </a:lnTo>
                  <a:lnTo>
                    <a:pt x="32" y="280"/>
                  </a:lnTo>
                  <a:lnTo>
                    <a:pt x="18" y="274"/>
                  </a:lnTo>
                  <a:lnTo>
                    <a:pt x="14" y="262"/>
                  </a:lnTo>
                  <a:lnTo>
                    <a:pt x="16" y="256"/>
                  </a:lnTo>
                  <a:lnTo>
                    <a:pt x="12" y="244"/>
                  </a:lnTo>
                  <a:lnTo>
                    <a:pt x="20" y="236"/>
                  </a:lnTo>
                  <a:lnTo>
                    <a:pt x="28" y="228"/>
                  </a:lnTo>
                  <a:lnTo>
                    <a:pt x="24" y="216"/>
                  </a:lnTo>
                  <a:lnTo>
                    <a:pt x="10" y="214"/>
                  </a:lnTo>
                  <a:lnTo>
                    <a:pt x="6" y="208"/>
                  </a:lnTo>
                  <a:lnTo>
                    <a:pt x="6" y="202"/>
                  </a:lnTo>
                  <a:lnTo>
                    <a:pt x="0" y="192"/>
                  </a:lnTo>
                  <a:lnTo>
                    <a:pt x="8" y="186"/>
                  </a:lnTo>
                  <a:lnTo>
                    <a:pt x="18" y="188"/>
                  </a:lnTo>
                  <a:lnTo>
                    <a:pt x="24" y="180"/>
                  </a:lnTo>
                  <a:lnTo>
                    <a:pt x="32" y="180"/>
                  </a:lnTo>
                  <a:lnTo>
                    <a:pt x="32" y="170"/>
                  </a:lnTo>
                  <a:lnTo>
                    <a:pt x="38" y="164"/>
                  </a:lnTo>
                  <a:lnTo>
                    <a:pt x="26" y="154"/>
                  </a:lnTo>
                  <a:lnTo>
                    <a:pt x="24" y="140"/>
                  </a:lnTo>
                  <a:lnTo>
                    <a:pt x="16" y="134"/>
                  </a:lnTo>
                  <a:lnTo>
                    <a:pt x="10" y="126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30" y="114"/>
                  </a:lnTo>
                  <a:lnTo>
                    <a:pt x="36" y="118"/>
                  </a:lnTo>
                  <a:lnTo>
                    <a:pt x="56" y="114"/>
                  </a:lnTo>
                  <a:lnTo>
                    <a:pt x="72" y="108"/>
                  </a:lnTo>
                  <a:lnTo>
                    <a:pt x="86" y="114"/>
                  </a:lnTo>
                  <a:lnTo>
                    <a:pt x="96" y="108"/>
                  </a:lnTo>
                  <a:lnTo>
                    <a:pt x="106" y="90"/>
                  </a:lnTo>
                  <a:lnTo>
                    <a:pt x="104" y="84"/>
                  </a:lnTo>
                  <a:lnTo>
                    <a:pt x="104" y="80"/>
                  </a:lnTo>
                  <a:lnTo>
                    <a:pt x="110" y="78"/>
                  </a:lnTo>
                  <a:lnTo>
                    <a:pt x="120" y="64"/>
                  </a:lnTo>
                  <a:lnTo>
                    <a:pt x="128" y="64"/>
                  </a:lnTo>
                  <a:lnTo>
                    <a:pt x="128" y="86"/>
                  </a:lnTo>
                  <a:lnTo>
                    <a:pt x="142" y="98"/>
                  </a:lnTo>
                  <a:lnTo>
                    <a:pt x="156" y="100"/>
                  </a:lnTo>
                  <a:lnTo>
                    <a:pt x="152" y="108"/>
                  </a:lnTo>
                  <a:lnTo>
                    <a:pt x="158" y="114"/>
                  </a:lnTo>
                  <a:lnTo>
                    <a:pt x="160" y="126"/>
                  </a:lnTo>
                  <a:lnTo>
                    <a:pt x="170" y="124"/>
                  </a:lnTo>
                  <a:lnTo>
                    <a:pt x="166" y="112"/>
                  </a:lnTo>
                  <a:lnTo>
                    <a:pt x="166" y="102"/>
                  </a:lnTo>
                  <a:lnTo>
                    <a:pt x="182" y="86"/>
                  </a:lnTo>
                  <a:lnTo>
                    <a:pt x="184" y="62"/>
                  </a:lnTo>
                  <a:lnTo>
                    <a:pt x="195" y="62"/>
                  </a:lnTo>
                  <a:lnTo>
                    <a:pt x="197" y="74"/>
                  </a:lnTo>
                  <a:lnTo>
                    <a:pt x="209" y="80"/>
                  </a:lnTo>
                  <a:lnTo>
                    <a:pt x="227" y="70"/>
                  </a:lnTo>
                  <a:lnTo>
                    <a:pt x="239" y="86"/>
                  </a:lnTo>
                  <a:lnTo>
                    <a:pt x="245" y="84"/>
                  </a:lnTo>
                  <a:lnTo>
                    <a:pt x="243" y="78"/>
                  </a:lnTo>
                  <a:lnTo>
                    <a:pt x="243" y="68"/>
                  </a:lnTo>
                  <a:lnTo>
                    <a:pt x="235" y="58"/>
                  </a:lnTo>
                  <a:lnTo>
                    <a:pt x="245" y="48"/>
                  </a:lnTo>
                  <a:lnTo>
                    <a:pt x="253" y="56"/>
                  </a:lnTo>
                  <a:lnTo>
                    <a:pt x="265" y="56"/>
                  </a:lnTo>
                  <a:lnTo>
                    <a:pt x="265" y="48"/>
                  </a:lnTo>
                  <a:lnTo>
                    <a:pt x="261" y="44"/>
                  </a:lnTo>
                  <a:lnTo>
                    <a:pt x="261" y="38"/>
                  </a:lnTo>
                  <a:lnTo>
                    <a:pt x="265" y="26"/>
                  </a:lnTo>
                  <a:lnTo>
                    <a:pt x="277" y="24"/>
                  </a:lnTo>
                  <a:lnTo>
                    <a:pt x="289" y="32"/>
                  </a:lnTo>
                  <a:lnTo>
                    <a:pt x="307" y="32"/>
                  </a:lnTo>
                  <a:lnTo>
                    <a:pt x="305" y="18"/>
                  </a:lnTo>
                  <a:lnTo>
                    <a:pt x="315" y="12"/>
                  </a:lnTo>
                  <a:lnTo>
                    <a:pt x="355" y="10"/>
                  </a:lnTo>
                  <a:lnTo>
                    <a:pt x="379" y="0"/>
                  </a:lnTo>
                  <a:lnTo>
                    <a:pt x="383" y="4"/>
                  </a:lnTo>
                  <a:lnTo>
                    <a:pt x="375" y="8"/>
                  </a:lnTo>
                  <a:lnTo>
                    <a:pt x="375" y="16"/>
                  </a:lnTo>
                  <a:lnTo>
                    <a:pt x="387" y="20"/>
                  </a:lnTo>
                  <a:lnTo>
                    <a:pt x="387" y="28"/>
                  </a:lnTo>
                  <a:lnTo>
                    <a:pt x="399" y="42"/>
                  </a:lnTo>
                  <a:lnTo>
                    <a:pt x="417" y="44"/>
                  </a:lnTo>
                  <a:lnTo>
                    <a:pt x="435" y="46"/>
                  </a:lnTo>
                  <a:lnTo>
                    <a:pt x="485" y="52"/>
                  </a:lnTo>
                  <a:lnTo>
                    <a:pt x="465" y="68"/>
                  </a:lnTo>
                  <a:lnTo>
                    <a:pt x="465" y="80"/>
                  </a:lnTo>
                  <a:lnTo>
                    <a:pt x="479" y="86"/>
                  </a:lnTo>
                  <a:lnTo>
                    <a:pt x="469" y="98"/>
                  </a:lnTo>
                  <a:lnTo>
                    <a:pt x="471" y="106"/>
                  </a:lnTo>
                  <a:lnTo>
                    <a:pt x="483" y="106"/>
                  </a:lnTo>
                  <a:lnTo>
                    <a:pt x="479" y="11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8" name="Freeform 53"/>
            <p:cNvSpPr>
              <a:spLocks/>
            </p:cNvSpPr>
            <p:nvPr/>
          </p:nvSpPr>
          <p:spPr bwMode="gray">
            <a:xfrm>
              <a:off x="2837111" y="4578865"/>
              <a:ext cx="362610" cy="377266"/>
            </a:xfrm>
            <a:custGeom>
              <a:avLst/>
              <a:gdLst>
                <a:gd name="T0" fmla="*/ 60 w 332"/>
                <a:gd name="T1" fmla="*/ 260 h 362"/>
                <a:gd name="T2" fmla="*/ 80 w 332"/>
                <a:gd name="T3" fmla="*/ 246 h 362"/>
                <a:gd name="T4" fmla="*/ 68 w 332"/>
                <a:gd name="T5" fmla="*/ 232 h 362"/>
                <a:gd name="T6" fmla="*/ 76 w 332"/>
                <a:gd name="T7" fmla="*/ 218 h 362"/>
                <a:gd name="T8" fmla="*/ 46 w 332"/>
                <a:gd name="T9" fmla="*/ 190 h 362"/>
                <a:gd name="T10" fmla="*/ 52 w 332"/>
                <a:gd name="T11" fmla="*/ 144 h 362"/>
                <a:gd name="T12" fmla="*/ 34 w 332"/>
                <a:gd name="T13" fmla="*/ 110 h 362"/>
                <a:gd name="T14" fmla="*/ 14 w 332"/>
                <a:gd name="T15" fmla="*/ 66 h 362"/>
                <a:gd name="T16" fmla="*/ 0 w 332"/>
                <a:gd name="T17" fmla="*/ 32 h 362"/>
                <a:gd name="T18" fmla="*/ 34 w 332"/>
                <a:gd name="T19" fmla="*/ 22 h 362"/>
                <a:gd name="T20" fmla="*/ 96 w 332"/>
                <a:gd name="T21" fmla="*/ 0 h 362"/>
                <a:gd name="T22" fmla="*/ 130 w 332"/>
                <a:gd name="T23" fmla="*/ 32 h 362"/>
                <a:gd name="T24" fmla="*/ 146 w 332"/>
                <a:gd name="T25" fmla="*/ 60 h 362"/>
                <a:gd name="T26" fmla="*/ 178 w 332"/>
                <a:gd name="T27" fmla="*/ 78 h 362"/>
                <a:gd name="T28" fmla="*/ 194 w 332"/>
                <a:gd name="T29" fmla="*/ 94 h 362"/>
                <a:gd name="T30" fmla="*/ 198 w 332"/>
                <a:gd name="T31" fmla="*/ 110 h 362"/>
                <a:gd name="T32" fmla="*/ 208 w 332"/>
                <a:gd name="T33" fmla="*/ 120 h 362"/>
                <a:gd name="T34" fmla="*/ 246 w 332"/>
                <a:gd name="T35" fmla="*/ 138 h 362"/>
                <a:gd name="T36" fmla="*/ 260 w 332"/>
                <a:gd name="T37" fmla="*/ 118 h 362"/>
                <a:gd name="T38" fmla="*/ 294 w 332"/>
                <a:gd name="T39" fmla="*/ 124 h 362"/>
                <a:gd name="T40" fmla="*/ 274 w 332"/>
                <a:gd name="T41" fmla="*/ 138 h 362"/>
                <a:gd name="T42" fmla="*/ 288 w 332"/>
                <a:gd name="T43" fmla="*/ 172 h 362"/>
                <a:gd name="T44" fmla="*/ 286 w 332"/>
                <a:gd name="T45" fmla="*/ 214 h 362"/>
                <a:gd name="T46" fmla="*/ 322 w 332"/>
                <a:gd name="T47" fmla="*/ 246 h 362"/>
                <a:gd name="T48" fmla="*/ 318 w 332"/>
                <a:gd name="T49" fmla="*/ 276 h 362"/>
                <a:gd name="T50" fmla="*/ 300 w 332"/>
                <a:gd name="T51" fmla="*/ 298 h 362"/>
                <a:gd name="T52" fmla="*/ 308 w 332"/>
                <a:gd name="T53" fmla="*/ 340 h 362"/>
                <a:gd name="T54" fmla="*/ 284 w 332"/>
                <a:gd name="T55" fmla="*/ 350 h 362"/>
                <a:gd name="T56" fmla="*/ 252 w 332"/>
                <a:gd name="T57" fmla="*/ 362 h 362"/>
                <a:gd name="T58" fmla="*/ 262 w 332"/>
                <a:gd name="T59" fmla="*/ 328 h 362"/>
                <a:gd name="T60" fmla="*/ 252 w 332"/>
                <a:gd name="T61" fmla="*/ 310 h 362"/>
                <a:gd name="T62" fmla="*/ 232 w 332"/>
                <a:gd name="T63" fmla="*/ 302 h 362"/>
                <a:gd name="T64" fmla="*/ 210 w 332"/>
                <a:gd name="T65" fmla="*/ 292 h 362"/>
                <a:gd name="T66" fmla="*/ 196 w 332"/>
                <a:gd name="T67" fmla="*/ 282 h 362"/>
                <a:gd name="T68" fmla="*/ 178 w 332"/>
                <a:gd name="T69" fmla="*/ 268 h 362"/>
                <a:gd name="T70" fmla="*/ 170 w 332"/>
                <a:gd name="T71" fmla="*/ 284 h 362"/>
                <a:gd name="T72" fmla="*/ 158 w 332"/>
                <a:gd name="T73" fmla="*/ 302 h 362"/>
                <a:gd name="T74" fmla="*/ 162 w 332"/>
                <a:gd name="T75" fmla="*/ 312 h 362"/>
                <a:gd name="T76" fmla="*/ 140 w 332"/>
                <a:gd name="T77" fmla="*/ 306 h 362"/>
                <a:gd name="T78" fmla="*/ 114 w 332"/>
                <a:gd name="T79" fmla="*/ 296 h 362"/>
                <a:gd name="T80" fmla="*/ 100 w 332"/>
                <a:gd name="T81" fmla="*/ 292 h 362"/>
                <a:gd name="T82" fmla="*/ 72 w 332"/>
                <a:gd name="T83" fmla="*/ 276 h 362"/>
                <a:gd name="T84" fmla="*/ 56 w 332"/>
                <a:gd name="T85" fmla="*/ 26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2" h="362">
                  <a:moveTo>
                    <a:pt x="40" y="268"/>
                  </a:moveTo>
                  <a:lnTo>
                    <a:pt x="48" y="260"/>
                  </a:lnTo>
                  <a:lnTo>
                    <a:pt x="60" y="260"/>
                  </a:lnTo>
                  <a:lnTo>
                    <a:pt x="66" y="252"/>
                  </a:lnTo>
                  <a:lnTo>
                    <a:pt x="76" y="256"/>
                  </a:lnTo>
                  <a:lnTo>
                    <a:pt x="80" y="246"/>
                  </a:lnTo>
                  <a:lnTo>
                    <a:pt x="74" y="238"/>
                  </a:lnTo>
                  <a:lnTo>
                    <a:pt x="70" y="234"/>
                  </a:lnTo>
                  <a:lnTo>
                    <a:pt x="68" y="232"/>
                  </a:lnTo>
                  <a:lnTo>
                    <a:pt x="66" y="230"/>
                  </a:lnTo>
                  <a:lnTo>
                    <a:pt x="58" y="218"/>
                  </a:lnTo>
                  <a:lnTo>
                    <a:pt x="76" y="218"/>
                  </a:lnTo>
                  <a:lnTo>
                    <a:pt x="80" y="210"/>
                  </a:lnTo>
                  <a:lnTo>
                    <a:pt x="58" y="192"/>
                  </a:lnTo>
                  <a:lnTo>
                    <a:pt x="46" y="190"/>
                  </a:lnTo>
                  <a:lnTo>
                    <a:pt x="40" y="166"/>
                  </a:lnTo>
                  <a:lnTo>
                    <a:pt x="42" y="160"/>
                  </a:lnTo>
                  <a:lnTo>
                    <a:pt x="52" y="144"/>
                  </a:lnTo>
                  <a:lnTo>
                    <a:pt x="54" y="130"/>
                  </a:lnTo>
                  <a:lnTo>
                    <a:pt x="34" y="126"/>
                  </a:lnTo>
                  <a:lnTo>
                    <a:pt x="34" y="110"/>
                  </a:lnTo>
                  <a:lnTo>
                    <a:pt x="46" y="102"/>
                  </a:lnTo>
                  <a:lnTo>
                    <a:pt x="22" y="90"/>
                  </a:lnTo>
                  <a:lnTo>
                    <a:pt x="14" y="66"/>
                  </a:lnTo>
                  <a:lnTo>
                    <a:pt x="14" y="62"/>
                  </a:lnTo>
                  <a:lnTo>
                    <a:pt x="8" y="50"/>
                  </a:lnTo>
                  <a:lnTo>
                    <a:pt x="0" y="32"/>
                  </a:lnTo>
                  <a:lnTo>
                    <a:pt x="12" y="30"/>
                  </a:lnTo>
                  <a:lnTo>
                    <a:pt x="22" y="22"/>
                  </a:lnTo>
                  <a:lnTo>
                    <a:pt x="34" y="22"/>
                  </a:lnTo>
                  <a:lnTo>
                    <a:pt x="52" y="2"/>
                  </a:lnTo>
                  <a:lnTo>
                    <a:pt x="76" y="0"/>
                  </a:lnTo>
                  <a:lnTo>
                    <a:pt x="96" y="0"/>
                  </a:lnTo>
                  <a:lnTo>
                    <a:pt x="106" y="10"/>
                  </a:lnTo>
                  <a:lnTo>
                    <a:pt x="118" y="20"/>
                  </a:lnTo>
                  <a:lnTo>
                    <a:pt x="130" y="32"/>
                  </a:lnTo>
                  <a:lnTo>
                    <a:pt x="138" y="34"/>
                  </a:lnTo>
                  <a:lnTo>
                    <a:pt x="140" y="50"/>
                  </a:lnTo>
                  <a:lnTo>
                    <a:pt x="146" y="60"/>
                  </a:lnTo>
                  <a:lnTo>
                    <a:pt x="158" y="70"/>
                  </a:lnTo>
                  <a:lnTo>
                    <a:pt x="172" y="70"/>
                  </a:lnTo>
                  <a:lnTo>
                    <a:pt x="178" y="78"/>
                  </a:lnTo>
                  <a:lnTo>
                    <a:pt x="188" y="74"/>
                  </a:lnTo>
                  <a:lnTo>
                    <a:pt x="196" y="84"/>
                  </a:lnTo>
                  <a:lnTo>
                    <a:pt x="194" y="94"/>
                  </a:lnTo>
                  <a:lnTo>
                    <a:pt x="192" y="98"/>
                  </a:lnTo>
                  <a:lnTo>
                    <a:pt x="202" y="104"/>
                  </a:lnTo>
                  <a:lnTo>
                    <a:pt x="198" y="110"/>
                  </a:lnTo>
                  <a:lnTo>
                    <a:pt x="188" y="116"/>
                  </a:lnTo>
                  <a:lnTo>
                    <a:pt x="196" y="120"/>
                  </a:lnTo>
                  <a:lnTo>
                    <a:pt x="208" y="120"/>
                  </a:lnTo>
                  <a:lnTo>
                    <a:pt x="214" y="126"/>
                  </a:lnTo>
                  <a:lnTo>
                    <a:pt x="238" y="126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4" y="128"/>
                  </a:lnTo>
                  <a:lnTo>
                    <a:pt x="260" y="118"/>
                  </a:lnTo>
                  <a:lnTo>
                    <a:pt x="268" y="114"/>
                  </a:lnTo>
                  <a:lnTo>
                    <a:pt x="278" y="116"/>
                  </a:lnTo>
                  <a:lnTo>
                    <a:pt x="294" y="124"/>
                  </a:lnTo>
                  <a:lnTo>
                    <a:pt x="292" y="130"/>
                  </a:lnTo>
                  <a:lnTo>
                    <a:pt x="280" y="130"/>
                  </a:lnTo>
                  <a:lnTo>
                    <a:pt x="274" y="138"/>
                  </a:lnTo>
                  <a:lnTo>
                    <a:pt x="280" y="148"/>
                  </a:lnTo>
                  <a:lnTo>
                    <a:pt x="292" y="154"/>
                  </a:lnTo>
                  <a:lnTo>
                    <a:pt x="288" y="172"/>
                  </a:lnTo>
                  <a:lnTo>
                    <a:pt x="278" y="182"/>
                  </a:lnTo>
                  <a:lnTo>
                    <a:pt x="278" y="202"/>
                  </a:lnTo>
                  <a:lnTo>
                    <a:pt x="286" y="214"/>
                  </a:lnTo>
                  <a:lnTo>
                    <a:pt x="294" y="228"/>
                  </a:lnTo>
                  <a:lnTo>
                    <a:pt x="308" y="238"/>
                  </a:lnTo>
                  <a:lnTo>
                    <a:pt x="322" y="246"/>
                  </a:lnTo>
                  <a:lnTo>
                    <a:pt x="332" y="254"/>
                  </a:lnTo>
                  <a:lnTo>
                    <a:pt x="328" y="268"/>
                  </a:lnTo>
                  <a:lnTo>
                    <a:pt x="318" y="276"/>
                  </a:lnTo>
                  <a:lnTo>
                    <a:pt x="316" y="286"/>
                  </a:lnTo>
                  <a:lnTo>
                    <a:pt x="306" y="288"/>
                  </a:lnTo>
                  <a:lnTo>
                    <a:pt x="300" y="298"/>
                  </a:lnTo>
                  <a:lnTo>
                    <a:pt x="304" y="322"/>
                  </a:lnTo>
                  <a:lnTo>
                    <a:pt x="310" y="326"/>
                  </a:lnTo>
                  <a:lnTo>
                    <a:pt x="308" y="340"/>
                  </a:lnTo>
                  <a:lnTo>
                    <a:pt x="302" y="348"/>
                  </a:lnTo>
                  <a:lnTo>
                    <a:pt x="294" y="342"/>
                  </a:lnTo>
                  <a:lnTo>
                    <a:pt x="284" y="350"/>
                  </a:lnTo>
                  <a:lnTo>
                    <a:pt x="270" y="350"/>
                  </a:lnTo>
                  <a:lnTo>
                    <a:pt x="256" y="360"/>
                  </a:lnTo>
                  <a:lnTo>
                    <a:pt x="252" y="362"/>
                  </a:lnTo>
                  <a:lnTo>
                    <a:pt x="256" y="348"/>
                  </a:lnTo>
                  <a:lnTo>
                    <a:pt x="256" y="340"/>
                  </a:lnTo>
                  <a:lnTo>
                    <a:pt x="262" y="328"/>
                  </a:lnTo>
                  <a:lnTo>
                    <a:pt x="260" y="320"/>
                  </a:lnTo>
                  <a:lnTo>
                    <a:pt x="264" y="314"/>
                  </a:lnTo>
                  <a:lnTo>
                    <a:pt x="252" y="310"/>
                  </a:lnTo>
                  <a:lnTo>
                    <a:pt x="240" y="312"/>
                  </a:lnTo>
                  <a:lnTo>
                    <a:pt x="230" y="314"/>
                  </a:lnTo>
                  <a:lnTo>
                    <a:pt x="232" y="302"/>
                  </a:lnTo>
                  <a:lnTo>
                    <a:pt x="218" y="300"/>
                  </a:lnTo>
                  <a:lnTo>
                    <a:pt x="216" y="290"/>
                  </a:lnTo>
                  <a:lnTo>
                    <a:pt x="210" y="292"/>
                  </a:lnTo>
                  <a:lnTo>
                    <a:pt x="206" y="286"/>
                  </a:lnTo>
                  <a:lnTo>
                    <a:pt x="204" y="280"/>
                  </a:lnTo>
                  <a:lnTo>
                    <a:pt x="196" y="282"/>
                  </a:lnTo>
                  <a:lnTo>
                    <a:pt x="184" y="278"/>
                  </a:lnTo>
                  <a:lnTo>
                    <a:pt x="184" y="270"/>
                  </a:lnTo>
                  <a:lnTo>
                    <a:pt x="178" y="268"/>
                  </a:lnTo>
                  <a:lnTo>
                    <a:pt x="172" y="274"/>
                  </a:lnTo>
                  <a:lnTo>
                    <a:pt x="164" y="278"/>
                  </a:lnTo>
                  <a:lnTo>
                    <a:pt x="170" y="284"/>
                  </a:lnTo>
                  <a:lnTo>
                    <a:pt x="170" y="294"/>
                  </a:lnTo>
                  <a:lnTo>
                    <a:pt x="168" y="298"/>
                  </a:lnTo>
                  <a:lnTo>
                    <a:pt x="158" y="302"/>
                  </a:lnTo>
                  <a:lnTo>
                    <a:pt x="156" y="306"/>
                  </a:lnTo>
                  <a:lnTo>
                    <a:pt x="162" y="308"/>
                  </a:lnTo>
                  <a:lnTo>
                    <a:pt x="162" y="312"/>
                  </a:lnTo>
                  <a:lnTo>
                    <a:pt x="150" y="318"/>
                  </a:lnTo>
                  <a:lnTo>
                    <a:pt x="150" y="312"/>
                  </a:lnTo>
                  <a:lnTo>
                    <a:pt x="140" y="306"/>
                  </a:lnTo>
                  <a:lnTo>
                    <a:pt x="134" y="308"/>
                  </a:lnTo>
                  <a:lnTo>
                    <a:pt x="124" y="302"/>
                  </a:lnTo>
                  <a:lnTo>
                    <a:pt x="114" y="296"/>
                  </a:lnTo>
                  <a:lnTo>
                    <a:pt x="112" y="300"/>
                  </a:lnTo>
                  <a:lnTo>
                    <a:pt x="104" y="300"/>
                  </a:lnTo>
                  <a:lnTo>
                    <a:pt x="100" y="292"/>
                  </a:lnTo>
                  <a:lnTo>
                    <a:pt x="94" y="294"/>
                  </a:lnTo>
                  <a:lnTo>
                    <a:pt x="80" y="282"/>
                  </a:lnTo>
                  <a:lnTo>
                    <a:pt x="72" y="276"/>
                  </a:lnTo>
                  <a:lnTo>
                    <a:pt x="66" y="276"/>
                  </a:lnTo>
                  <a:lnTo>
                    <a:pt x="58" y="272"/>
                  </a:lnTo>
                  <a:lnTo>
                    <a:pt x="56" y="266"/>
                  </a:lnTo>
                  <a:lnTo>
                    <a:pt x="40" y="26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9" name="Freeform 54"/>
            <p:cNvSpPr>
              <a:spLocks/>
            </p:cNvSpPr>
            <p:nvPr/>
          </p:nvSpPr>
          <p:spPr bwMode="gray">
            <a:xfrm>
              <a:off x="2449078" y="4568162"/>
              <a:ext cx="437540" cy="379942"/>
            </a:xfrm>
            <a:custGeom>
              <a:avLst/>
              <a:gdLst>
                <a:gd name="T0" fmla="*/ 22 w 400"/>
                <a:gd name="T1" fmla="*/ 120 h 364"/>
                <a:gd name="T2" fmla="*/ 70 w 400"/>
                <a:gd name="T3" fmla="*/ 94 h 364"/>
                <a:gd name="T4" fmla="*/ 122 w 400"/>
                <a:gd name="T5" fmla="*/ 116 h 364"/>
                <a:gd name="T6" fmla="*/ 136 w 400"/>
                <a:gd name="T7" fmla="*/ 72 h 364"/>
                <a:gd name="T8" fmla="*/ 160 w 400"/>
                <a:gd name="T9" fmla="*/ 28 h 364"/>
                <a:gd name="T10" fmla="*/ 180 w 400"/>
                <a:gd name="T11" fmla="*/ 0 h 364"/>
                <a:gd name="T12" fmla="*/ 214 w 400"/>
                <a:gd name="T13" fmla="*/ 18 h 364"/>
                <a:gd name="T14" fmla="*/ 256 w 400"/>
                <a:gd name="T15" fmla="*/ 50 h 364"/>
                <a:gd name="T16" fmla="*/ 302 w 400"/>
                <a:gd name="T17" fmla="*/ 64 h 364"/>
                <a:gd name="T18" fmla="*/ 354 w 400"/>
                <a:gd name="T19" fmla="*/ 42 h 364"/>
                <a:gd name="T20" fmla="*/ 368 w 400"/>
                <a:gd name="T21" fmla="*/ 72 h 364"/>
                <a:gd name="T22" fmla="*/ 400 w 400"/>
                <a:gd name="T23" fmla="*/ 112 h 364"/>
                <a:gd name="T24" fmla="*/ 388 w 400"/>
                <a:gd name="T25" fmla="*/ 136 h 364"/>
                <a:gd name="T26" fmla="*/ 356 w 400"/>
                <a:gd name="T27" fmla="*/ 126 h 364"/>
                <a:gd name="T28" fmla="*/ 318 w 400"/>
                <a:gd name="T29" fmla="*/ 130 h 364"/>
                <a:gd name="T30" fmla="*/ 296 w 400"/>
                <a:gd name="T31" fmla="*/ 134 h 364"/>
                <a:gd name="T32" fmla="*/ 246 w 400"/>
                <a:gd name="T33" fmla="*/ 130 h 364"/>
                <a:gd name="T34" fmla="*/ 224 w 400"/>
                <a:gd name="T35" fmla="*/ 136 h 364"/>
                <a:gd name="T36" fmla="*/ 196 w 400"/>
                <a:gd name="T37" fmla="*/ 150 h 364"/>
                <a:gd name="T38" fmla="*/ 160 w 400"/>
                <a:gd name="T39" fmla="*/ 134 h 364"/>
                <a:gd name="T40" fmla="*/ 182 w 400"/>
                <a:gd name="T41" fmla="*/ 190 h 364"/>
                <a:gd name="T42" fmla="*/ 218 w 400"/>
                <a:gd name="T43" fmla="*/ 244 h 364"/>
                <a:gd name="T44" fmla="*/ 256 w 400"/>
                <a:gd name="T45" fmla="*/ 274 h 364"/>
                <a:gd name="T46" fmla="*/ 284 w 400"/>
                <a:gd name="T47" fmla="*/ 314 h 364"/>
                <a:gd name="T48" fmla="*/ 314 w 400"/>
                <a:gd name="T49" fmla="*/ 342 h 364"/>
                <a:gd name="T50" fmla="*/ 346 w 400"/>
                <a:gd name="T51" fmla="*/ 364 h 364"/>
                <a:gd name="T52" fmla="*/ 302 w 400"/>
                <a:gd name="T53" fmla="*/ 342 h 364"/>
                <a:gd name="T54" fmla="*/ 260 w 400"/>
                <a:gd name="T55" fmla="*/ 316 h 364"/>
                <a:gd name="T56" fmla="*/ 228 w 400"/>
                <a:gd name="T57" fmla="*/ 300 h 364"/>
                <a:gd name="T58" fmla="*/ 196 w 400"/>
                <a:gd name="T59" fmla="*/ 302 h 364"/>
                <a:gd name="T60" fmla="*/ 180 w 400"/>
                <a:gd name="T61" fmla="*/ 284 h 364"/>
                <a:gd name="T62" fmla="*/ 154 w 400"/>
                <a:gd name="T63" fmla="*/ 270 h 364"/>
                <a:gd name="T64" fmla="*/ 124 w 400"/>
                <a:gd name="T65" fmla="*/ 248 h 364"/>
                <a:gd name="T66" fmla="*/ 138 w 400"/>
                <a:gd name="T67" fmla="*/ 224 h 364"/>
                <a:gd name="T68" fmla="*/ 108 w 400"/>
                <a:gd name="T69" fmla="*/ 200 h 364"/>
                <a:gd name="T70" fmla="*/ 96 w 400"/>
                <a:gd name="T71" fmla="*/ 154 h 364"/>
                <a:gd name="T72" fmla="*/ 66 w 400"/>
                <a:gd name="T73" fmla="*/ 132 h 364"/>
                <a:gd name="T74" fmla="*/ 50 w 400"/>
                <a:gd name="T75" fmla="*/ 146 h 364"/>
                <a:gd name="T76" fmla="*/ 40 w 400"/>
                <a:gd name="T77" fmla="*/ 162 h 364"/>
                <a:gd name="T78" fmla="*/ 30 w 400"/>
                <a:gd name="T79" fmla="*/ 182 h 364"/>
                <a:gd name="T80" fmla="*/ 6 w 400"/>
                <a:gd name="T81" fmla="*/ 150 h 364"/>
                <a:gd name="T82" fmla="*/ 2 w 400"/>
                <a:gd name="T83" fmla="*/ 118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0" h="364">
                  <a:moveTo>
                    <a:pt x="2" y="118"/>
                  </a:moveTo>
                  <a:lnTo>
                    <a:pt x="22" y="120"/>
                  </a:lnTo>
                  <a:lnTo>
                    <a:pt x="50" y="116"/>
                  </a:lnTo>
                  <a:lnTo>
                    <a:pt x="70" y="94"/>
                  </a:lnTo>
                  <a:lnTo>
                    <a:pt x="88" y="112"/>
                  </a:lnTo>
                  <a:lnTo>
                    <a:pt x="122" y="116"/>
                  </a:lnTo>
                  <a:lnTo>
                    <a:pt x="118" y="90"/>
                  </a:lnTo>
                  <a:lnTo>
                    <a:pt x="136" y="72"/>
                  </a:lnTo>
                  <a:lnTo>
                    <a:pt x="146" y="52"/>
                  </a:lnTo>
                  <a:lnTo>
                    <a:pt x="160" y="28"/>
                  </a:lnTo>
                  <a:lnTo>
                    <a:pt x="180" y="18"/>
                  </a:lnTo>
                  <a:lnTo>
                    <a:pt x="180" y="0"/>
                  </a:lnTo>
                  <a:lnTo>
                    <a:pt x="196" y="4"/>
                  </a:lnTo>
                  <a:lnTo>
                    <a:pt x="214" y="18"/>
                  </a:lnTo>
                  <a:lnTo>
                    <a:pt x="238" y="32"/>
                  </a:lnTo>
                  <a:lnTo>
                    <a:pt x="256" y="50"/>
                  </a:lnTo>
                  <a:lnTo>
                    <a:pt x="280" y="56"/>
                  </a:lnTo>
                  <a:lnTo>
                    <a:pt x="302" y="64"/>
                  </a:lnTo>
                  <a:lnTo>
                    <a:pt x="334" y="60"/>
                  </a:lnTo>
                  <a:lnTo>
                    <a:pt x="354" y="42"/>
                  </a:lnTo>
                  <a:lnTo>
                    <a:pt x="360" y="56"/>
                  </a:lnTo>
                  <a:lnTo>
                    <a:pt x="368" y="72"/>
                  </a:lnTo>
                  <a:lnTo>
                    <a:pt x="376" y="100"/>
                  </a:lnTo>
                  <a:lnTo>
                    <a:pt x="400" y="112"/>
                  </a:lnTo>
                  <a:lnTo>
                    <a:pt x="388" y="120"/>
                  </a:lnTo>
                  <a:lnTo>
                    <a:pt x="388" y="136"/>
                  </a:lnTo>
                  <a:lnTo>
                    <a:pt x="374" y="148"/>
                  </a:lnTo>
                  <a:lnTo>
                    <a:pt x="356" y="126"/>
                  </a:lnTo>
                  <a:lnTo>
                    <a:pt x="330" y="126"/>
                  </a:lnTo>
                  <a:lnTo>
                    <a:pt x="318" y="130"/>
                  </a:lnTo>
                  <a:lnTo>
                    <a:pt x="308" y="126"/>
                  </a:lnTo>
                  <a:lnTo>
                    <a:pt x="296" y="134"/>
                  </a:lnTo>
                  <a:lnTo>
                    <a:pt x="262" y="128"/>
                  </a:lnTo>
                  <a:lnTo>
                    <a:pt x="246" y="130"/>
                  </a:lnTo>
                  <a:lnTo>
                    <a:pt x="232" y="122"/>
                  </a:lnTo>
                  <a:lnTo>
                    <a:pt x="224" y="136"/>
                  </a:lnTo>
                  <a:lnTo>
                    <a:pt x="206" y="132"/>
                  </a:lnTo>
                  <a:lnTo>
                    <a:pt x="196" y="150"/>
                  </a:lnTo>
                  <a:lnTo>
                    <a:pt x="174" y="134"/>
                  </a:lnTo>
                  <a:lnTo>
                    <a:pt x="160" y="134"/>
                  </a:lnTo>
                  <a:lnTo>
                    <a:pt x="158" y="176"/>
                  </a:lnTo>
                  <a:lnTo>
                    <a:pt x="182" y="190"/>
                  </a:lnTo>
                  <a:lnTo>
                    <a:pt x="204" y="230"/>
                  </a:lnTo>
                  <a:lnTo>
                    <a:pt x="218" y="244"/>
                  </a:lnTo>
                  <a:lnTo>
                    <a:pt x="238" y="260"/>
                  </a:lnTo>
                  <a:lnTo>
                    <a:pt x="256" y="274"/>
                  </a:lnTo>
                  <a:lnTo>
                    <a:pt x="274" y="292"/>
                  </a:lnTo>
                  <a:lnTo>
                    <a:pt x="284" y="314"/>
                  </a:lnTo>
                  <a:lnTo>
                    <a:pt x="302" y="332"/>
                  </a:lnTo>
                  <a:lnTo>
                    <a:pt x="314" y="342"/>
                  </a:lnTo>
                  <a:lnTo>
                    <a:pt x="326" y="354"/>
                  </a:lnTo>
                  <a:lnTo>
                    <a:pt x="346" y="364"/>
                  </a:lnTo>
                  <a:lnTo>
                    <a:pt x="320" y="360"/>
                  </a:lnTo>
                  <a:lnTo>
                    <a:pt x="302" y="342"/>
                  </a:lnTo>
                  <a:lnTo>
                    <a:pt x="280" y="328"/>
                  </a:lnTo>
                  <a:lnTo>
                    <a:pt x="260" y="316"/>
                  </a:lnTo>
                  <a:lnTo>
                    <a:pt x="244" y="306"/>
                  </a:lnTo>
                  <a:lnTo>
                    <a:pt x="228" y="300"/>
                  </a:lnTo>
                  <a:lnTo>
                    <a:pt x="212" y="296"/>
                  </a:lnTo>
                  <a:lnTo>
                    <a:pt x="196" y="302"/>
                  </a:lnTo>
                  <a:lnTo>
                    <a:pt x="182" y="296"/>
                  </a:lnTo>
                  <a:lnTo>
                    <a:pt x="180" y="284"/>
                  </a:lnTo>
                  <a:lnTo>
                    <a:pt x="168" y="278"/>
                  </a:lnTo>
                  <a:lnTo>
                    <a:pt x="154" y="270"/>
                  </a:lnTo>
                  <a:lnTo>
                    <a:pt x="140" y="264"/>
                  </a:lnTo>
                  <a:lnTo>
                    <a:pt x="124" y="248"/>
                  </a:lnTo>
                  <a:lnTo>
                    <a:pt x="122" y="228"/>
                  </a:lnTo>
                  <a:lnTo>
                    <a:pt x="138" y="224"/>
                  </a:lnTo>
                  <a:lnTo>
                    <a:pt x="124" y="212"/>
                  </a:lnTo>
                  <a:lnTo>
                    <a:pt x="108" y="200"/>
                  </a:lnTo>
                  <a:lnTo>
                    <a:pt x="98" y="182"/>
                  </a:lnTo>
                  <a:lnTo>
                    <a:pt x="96" y="154"/>
                  </a:lnTo>
                  <a:lnTo>
                    <a:pt x="80" y="144"/>
                  </a:lnTo>
                  <a:lnTo>
                    <a:pt x="66" y="132"/>
                  </a:lnTo>
                  <a:lnTo>
                    <a:pt x="52" y="132"/>
                  </a:lnTo>
                  <a:lnTo>
                    <a:pt x="50" y="146"/>
                  </a:lnTo>
                  <a:lnTo>
                    <a:pt x="48" y="158"/>
                  </a:lnTo>
                  <a:lnTo>
                    <a:pt x="40" y="162"/>
                  </a:lnTo>
                  <a:lnTo>
                    <a:pt x="38" y="176"/>
                  </a:lnTo>
                  <a:lnTo>
                    <a:pt x="30" y="182"/>
                  </a:lnTo>
                  <a:lnTo>
                    <a:pt x="16" y="164"/>
                  </a:lnTo>
                  <a:lnTo>
                    <a:pt x="6" y="150"/>
                  </a:lnTo>
                  <a:lnTo>
                    <a:pt x="0" y="132"/>
                  </a:lnTo>
                  <a:lnTo>
                    <a:pt x="2" y="118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0" name="Freeform 55"/>
            <p:cNvSpPr>
              <a:spLocks/>
            </p:cNvSpPr>
            <p:nvPr/>
          </p:nvSpPr>
          <p:spPr bwMode="gray">
            <a:xfrm>
              <a:off x="2621687" y="4695414"/>
              <a:ext cx="302398" cy="264889"/>
            </a:xfrm>
            <a:custGeom>
              <a:avLst/>
              <a:gdLst>
                <a:gd name="T0" fmla="*/ 250 w 276"/>
                <a:gd name="T1" fmla="*/ 18 h 254"/>
                <a:gd name="T2" fmla="*/ 238 w 276"/>
                <a:gd name="T3" fmla="*/ 48 h 254"/>
                <a:gd name="T4" fmla="*/ 242 w 276"/>
                <a:gd name="T5" fmla="*/ 78 h 254"/>
                <a:gd name="T6" fmla="*/ 264 w 276"/>
                <a:gd name="T7" fmla="*/ 90 h 254"/>
                <a:gd name="T8" fmla="*/ 272 w 276"/>
                <a:gd name="T9" fmla="*/ 106 h 254"/>
                <a:gd name="T10" fmla="*/ 262 w 276"/>
                <a:gd name="T11" fmla="*/ 118 h 254"/>
                <a:gd name="T12" fmla="*/ 276 w 276"/>
                <a:gd name="T13" fmla="*/ 134 h 254"/>
                <a:gd name="T14" fmla="*/ 262 w 276"/>
                <a:gd name="T15" fmla="*/ 140 h 254"/>
                <a:gd name="T16" fmla="*/ 244 w 276"/>
                <a:gd name="T17" fmla="*/ 148 h 254"/>
                <a:gd name="T18" fmla="*/ 244 w 276"/>
                <a:gd name="T19" fmla="*/ 164 h 254"/>
                <a:gd name="T20" fmla="*/ 238 w 276"/>
                <a:gd name="T21" fmla="*/ 170 h 254"/>
                <a:gd name="T22" fmla="*/ 224 w 276"/>
                <a:gd name="T23" fmla="*/ 178 h 254"/>
                <a:gd name="T24" fmla="*/ 222 w 276"/>
                <a:gd name="T25" fmla="*/ 204 h 254"/>
                <a:gd name="T26" fmla="*/ 210 w 276"/>
                <a:gd name="T27" fmla="*/ 218 h 254"/>
                <a:gd name="T28" fmla="*/ 220 w 276"/>
                <a:gd name="T29" fmla="*/ 238 h 254"/>
                <a:gd name="T30" fmla="*/ 206 w 276"/>
                <a:gd name="T31" fmla="*/ 250 h 254"/>
                <a:gd name="T32" fmla="*/ 188 w 276"/>
                <a:gd name="T33" fmla="*/ 242 h 254"/>
                <a:gd name="T34" fmla="*/ 168 w 276"/>
                <a:gd name="T35" fmla="*/ 232 h 254"/>
                <a:gd name="T36" fmla="*/ 150 w 276"/>
                <a:gd name="T37" fmla="*/ 216 h 254"/>
                <a:gd name="T38" fmla="*/ 136 w 276"/>
                <a:gd name="T39" fmla="*/ 202 h 254"/>
                <a:gd name="T40" fmla="*/ 126 w 276"/>
                <a:gd name="T41" fmla="*/ 192 h 254"/>
                <a:gd name="T42" fmla="*/ 116 w 276"/>
                <a:gd name="T43" fmla="*/ 170 h 254"/>
                <a:gd name="T44" fmla="*/ 94 w 276"/>
                <a:gd name="T45" fmla="*/ 148 h 254"/>
                <a:gd name="T46" fmla="*/ 68 w 276"/>
                <a:gd name="T47" fmla="*/ 128 h 254"/>
                <a:gd name="T48" fmla="*/ 46 w 276"/>
                <a:gd name="T49" fmla="*/ 108 h 254"/>
                <a:gd name="T50" fmla="*/ 24 w 276"/>
                <a:gd name="T51" fmla="*/ 68 h 254"/>
                <a:gd name="T52" fmla="*/ 0 w 276"/>
                <a:gd name="T53" fmla="*/ 54 h 254"/>
                <a:gd name="T54" fmla="*/ 0 w 276"/>
                <a:gd name="T55" fmla="*/ 22 h 254"/>
                <a:gd name="T56" fmla="*/ 16 w 276"/>
                <a:gd name="T57" fmla="*/ 12 h 254"/>
                <a:gd name="T58" fmla="*/ 48 w 276"/>
                <a:gd name="T59" fmla="*/ 10 h 254"/>
                <a:gd name="T60" fmla="*/ 74 w 276"/>
                <a:gd name="T61" fmla="*/ 0 h 254"/>
                <a:gd name="T62" fmla="*/ 104 w 276"/>
                <a:gd name="T63" fmla="*/ 6 h 254"/>
                <a:gd name="T64" fmla="*/ 138 w 276"/>
                <a:gd name="T65" fmla="*/ 12 h 254"/>
                <a:gd name="T66" fmla="*/ 160 w 276"/>
                <a:gd name="T67" fmla="*/ 8 h 254"/>
                <a:gd name="T68" fmla="*/ 198 w 276"/>
                <a:gd name="T69" fmla="*/ 4 h 254"/>
                <a:gd name="T70" fmla="*/ 216 w 276"/>
                <a:gd name="T71" fmla="*/ 26 h 254"/>
                <a:gd name="T72" fmla="*/ 230 w 276"/>
                <a:gd name="T73" fmla="*/ 1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6" h="254">
                  <a:moveTo>
                    <a:pt x="230" y="14"/>
                  </a:moveTo>
                  <a:lnTo>
                    <a:pt x="250" y="18"/>
                  </a:lnTo>
                  <a:lnTo>
                    <a:pt x="248" y="32"/>
                  </a:lnTo>
                  <a:lnTo>
                    <a:pt x="238" y="48"/>
                  </a:lnTo>
                  <a:lnTo>
                    <a:pt x="236" y="54"/>
                  </a:lnTo>
                  <a:lnTo>
                    <a:pt x="242" y="78"/>
                  </a:lnTo>
                  <a:lnTo>
                    <a:pt x="254" y="80"/>
                  </a:lnTo>
                  <a:lnTo>
                    <a:pt x="264" y="90"/>
                  </a:lnTo>
                  <a:lnTo>
                    <a:pt x="276" y="98"/>
                  </a:lnTo>
                  <a:lnTo>
                    <a:pt x="272" y="106"/>
                  </a:lnTo>
                  <a:lnTo>
                    <a:pt x="254" y="106"/>
                  </a:lnTo>
                  <a:lnTo>
                    <a:pt x="262" y="118"/>
                  </a:lnTo>
                  <a:lnTo>
                    <a:pt x="268" y="124"/>
                  </a:lnTo>
                  <a:lnTo>
                    <a:pt x="276" y="134"/>
                  </a:lnTo>
                  <a:lnTo>
                    <a:pt x="272" y="144"/>
                  </a:lnTo>
                  <a:lnTo>
                    <a:pt x="262" y="140"/>
                  </a:lnTo>
                  <a:lnTo>
                    <a:pt x="256" y="148"/>
                  </a:lnTo>
                  <a:lnTo>
                    <a:pt x="244" y="148"/>
                  </a:lnTo>
                  <a:lnTo>
                    <a:pt x="236" y="156"/>
                  </a:lnTo>
                  <a:lnTo>
                    <a:pt x="244" y="164"/>
                  </a:lnTo>
                  <a:lnTo>
                    <a:pt x="246" y="174"/>
                  </a:lnTo>
                  <a:lnTo>
                    <a:pt x="238" y="170"/>
                  </a:lnTo>
                  <a:lnTo>
                    <a:pt x="230" y="172"/>
                  </a:lnTo>
                  <a:lnTo>
                    <a:pt x="224" y="178"/>
                  </a:lnTo>
                  <a:lnTo>
                    <a:pt x="220" y="190"/>
                  </a:lnTo>
                  <a:lnTo>
                    <a:pt x="222" y="204"/>
                  </a:lnTo>
                  <a:lnTo>
                    <a:pt x="212" y="206"/>
                  </a:lnTo>
                  <a:lnTo>
                    <a:pt x="210" y="218"/>
                  </a:lnTo>
                  <a:lnTo>
                    <a:pt x="214" y="224"/>
                  </a:lnTo>
                  <a:lnTo>
                    <a:pt x="220" y="238"/>
                  </a:lnTo>
                  <a:lnTo>
                    <a:pt x="216" y="254"/>
                  </a:lnTo>
                  <a:lnTo>
                    <a:pt x="206" y="250"/>
                  </a:lnTo>
                  <a:lnTo>
                    <a:pt x="192" y="248"/>
                  </a:lnTo>
                  <a:lnTo>
                    <a:pt x="188" y="242"/>
                  </a:lnTo>
                  <a:lnTo>
                    <a:pt x="182" y="238"/>
                  </a:lnTo>
                  <a:lnTo>
                    <a:pt x="168" y="232"/>
                  </a:lnTo>
                  <a:lnTo>
                    <a:pt x="156" y="220"/>
                  </a:lnTo>
                  <a:lnTo>
                    <a:pt x="150" y="216"/>
                  </a:lnTo>
                  <a:lnTo>
                    <a:pt x="144" y="210"/>
                  </a:lnTo>
                  <a:lnTo>
                    <a:pt x="136" y="202"/>
                  </a:lnTo>
                  <a:lnTo>
                    <a:pt x="128" y="194"/>
                  </a:lnTo>
                  <a:lnTo>
                    <a:pt x="126" y="192"/>
                  </a:lnTo>
                  <a:lnTo>
                    <a:pt x="120" y="180"/>
                  </a:lnTo>
                  <a:lnTo>
                    <a:pt x="116" y="170"/>
                  </a:lnTo>
                  <a:lnTo>
                    <a:pt x="98" y="152"/>
                  </a:lnTo>
                  <a:lnTo>
                    <a:pt x="94" y="148"/>
                  </a:lnTo>
                  <a:lnTo>
                    <a:pt x="82" y="138"/>
                  </a:lnTo>
                  <a:lnTo>
                    <a:pt x="68" y="128"/>
                  </a:lnTo>
                  <a:lnTo>
                    <a:pt x="56" y="118"/>
                  </a:lnTo>
                  <a:lnTo>
                    <a:pt x="46" y="108"/>
                  </a:lnTo>
                  <a:lnTo>
                    <a:pt x="34" y="88"/>
                  </a:lnTo>
                  <a:lnTo>
                    <a:pt x="24" y="68"/>
                  </a:lnTo>
                  <a:lnTo>
                    <a:pt x="10" y="60"/>
                  </a:lnTo>
                  <a:lnTo>
                    <a:pt x="0" y="54"/>
                  </a:lnTo>
                  <a:lnTo>
                    <a:pt x="0" y="38"/>
                  </a:lnTo>
                  <a:lnTo>
                    <a:pt x="0" y="22"/>
                  </a:lnTo>
                  <a:lnTo>
                    <a:pt x="2" y="12"/>
                  </a:lnTo>
                  <a:lnTo>
                    <a:pt x="16" y="12"/>
                  </a:lnTo>
                  <a:lnTo>
                    <a:pt x="38" y="28"/>
                  </a:lnTo>
                  <a:lnTo>
                    <a:pt x="48" y="10"/>
                  </a:lnTo>
                  <a:lnTo>
                    <a:pt x="66" y="14"/>
                  </a:lnTo>
                  <a:lnTo>
                    <a:pt x="74" y="0"/>
                  </a:lnTo>
                  <a:lnTo>
                    <a:pt x="88" y="8"/>
                  </a:lnTo>
                  <a:lnTo>
                    <a:pt x="104" y="6"/>
                  </a:lnTo>
                  <a:lnTo>
                    <a:pt x="120" y="8"/>
                  </a:lnTo>
                  <a:lnTo>
                    <a:pt x="138" y="12"/>
                  </a:lnTo>
                  <a:lnTo>
                    <a:pt x="150" y="4"/>
                  </a:lnTo>
                  <a:lnTo>
                    <a:pt x="160" y="8"/>
                  </a:lnTo>
                  <a:lnTo>
                    <a:pt x="172" y="4"/>
                  </a:lnTo>
                  <a:lnTo>
                    <a:pt x="198" y="4"/>
                  </a:lnTo>
                  <a:lnTo>
                    <a:pt x="210" y="20"/>
                  </a:lnTo>
                  <a:lnTo>
                    <a:pt x="216" y="26"/>
                  </a:lnTo>
                  <a:lnTo>
                    <a:pt x="224" y="18"/>
                  </a:lnTo>
                  <a:lnTo>
                    <a:pt x="230" y="1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1" name="Freeform 56"/>
            <p:cNvSpPr>
              <a:spLocks/>
            </p:cNvSpPr>
            <p:nvPr/>
          </p:nvSpPr>
          <p:spPr bwMode="gray">
            <a:xfrm>
              <a:off x="3029790" y="4934726"/>
              <a:ext cx="200707" cy="168566"/>
            </a:xfrm>
            <a:custGeom>
              <a:avLst/>
              <a:gdLst>
                <a:gd name="T0" fmla="*/ 126 w 184"/>
                <a:gd name="T1" fmla="*/ 6 h 162"/>
                <a:gd name="T2" fmla="*/ 140 w 184"/>
                <a:gd name="T3" fmla="*/ 18 h 162"/>
                <a:gd name="T4" fmla="*/ 156 w 184"/>
                <a:gd name="T5" fmla="*/ 24 h 162"/>
                <a:gd name="T6" fmla="*/ 164 w 184"/>
                <a:gd name="T7" fmla="*/ 28 h 162"/>
                <a:gd name="T8" fmla="*/ 176 w 184"/>
                <a:gd name="T9" fmla="*/ 42 h 162"/>
                <a:gd name="T10" fmla="*/ 182 w 184"/>
                <a:gd name="T11" fmla="*/ 56 h 162"/>
                <a:gd name="T12" fmla="*/ 182 w 184"/>
                <a:gd name="T13" fmla="*/ 72 h 162"/>
                <a:gd name="T14" fmla="*/ 184 w 184"/>
                <a:gd name="T15" fmla="*/ 90 h 162"/>
                <a:gd name="T16" fmla="*/ 172 w 184"/>
                <a:gd name="T17" fmla="*/ 92 h 162"/>
                <a:gd name="T18" fmla="*/ 172 w 184"/>
                <a:gd name="T19" fmla="*/ 108 h 162"/>
                <a:gd name="T20" fmla="*/ 156 w 184"/>
                <a:gd name="T21" fmla="*/ 116 h 162"/>
                <a:gd name="T22" fmla="*/ 142 w 184"/>
                <a:gd name="T23" fmla="*/ 116 h 162"/>
                <a:gd name="T24" fmla="*/ 130 w 184"/>
                <a:gd name="T25" fmla="*/ 122 h 162"/>
                <a:gd name="T26" fmla="*/ 120 w 184"/>
                <a:gd name="T27" fmla="*/ 122 h 162"/>
                <a:gd name="T28" fmla="*/ 104 w 184"/>
                <a:gd name="T29" fmla="*/ 144 h 162"/>
                <a:gd name="T30" fmla="*/ 94 w 184"/>
                <a:gd name="T31" fmla="*/ 154 h 162"/>
                <a:gd name="T32" fmla="*/ 80 w 184"/>
                <a:gd name="T33" fmla="*/ 150 h 162"/>
                <a:gd name="T34" fmla="*/ 70 w 184"/>
                <a:gd name="T35" fmla="*/ 158 h 162"/>
                <a:gd name="T36" fmla="*/ 48 w 184"/>
                <a:gd name="T37" fmla="*/ 162 h 162"/>
                <a:gd name="T38" fmla="*/ 48 w 184"/>
                <a:gd name="T39" fmla="*/ 156 h 162"/>
                <a:gd name="T40" fmla="*/ 40 w 184"/>
                <a:gd name="T41" fmla="*/ 156 h 162"/>
                <a:gd name="T42" fmla="*/ 36 w 184"/>
                <a:gd name="T43" fmla="*/ 160 h 162"/>
                <a:gd name="T44" fmla="*/ 28 w 184"/>
                <a:gd name="T45" fmla="*/ 160 h 162"/>
                <a:gd name="T46" fmla="*/ 24 w 184"/>
                <a:gd name="T47" fmla="*/ 148 h 162"/>
                <a:gd name="T48" fmla="*/ 8 w 184"/>
                <a:gd name="T49" fmla="*/ 130 h 162"/>
                <a:gd name="T50" fmla="*/ 10 w 184"/>
                <a:gd name="T51" fmla="*/ 116 h 162"/>
                <a:gd name="T52" fmla="*/ 0 w 184"/>
                <a:gd name="T53" fmla="*/ 100 h 162"/>
                <a:gd name="T54" fmla="*/ 6 w 184"/>
                <a:gd name="T55" fmla="*/ 96 h 162"/>
                <a:gd name="T56" fmla="*/ 6 w 184"/>
                <a:gd name="T57" fmla="*/ 90 h 162"/>
                <a:gd name="T58" fmla="*/ 4 w 184"/>
                <a:gd name="T59" fmla="*/ 66 h 162"/>
                <a:gd name="T60" fmla="*/ 16 w 184"/>
                <a:gd name="T61" fmla="*/ 64 h 162"/>
                <a:gd name="T62" fmla="*/ 14 w 184"/>
                <a:gd name="T63" fmla="*/ 48 h 162"/>
                <a:gd name="T64" fmla="*/ 40 w 184"/>
                <a:gd name="T65" fmla="*/ 30 h 162"/>
                <a:gd name="T66" fmla="*/ 52 w 184"/>
                <a:gd name="T67" fmla="*/ 40 h 162"/>
                <a:gd name="T68" fmla="*/ 54 w 184"/>
                <a:gd name="T69" fmla="*/ 26 h 162"/>
                <a:gd name="T70" fmla="*/ 62 w 184"/>
                <a:gd name="T71" fmla="*/ 24 h 162"/>
                <a:gd name="T72" fmla="*/ 80 w 184"/>
                <a:gd name="T73" fmla="*/ 18 h 162"/>
                <a:gd name="T74" fmla="*/ 94 w 184"/>
                <a:gd name="T75" fmla="*/ 8 h 162"/>
                <a:gd name="T76" fmla="*/ 108 w 184"/>
                <a:gd name="T77" fmla="*/ 8 h 162"/>
                <a:gd name="T78" fmla="*/ 118 w 184"/>
                <a:gd name="T79" fmla="*/ 0 h 162"/>
                <a:gd name="T80" fmla="*/ 126 w 184"/>
                <a:gd name="T81" fmla="*/ 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4" h="162">
                  <a:moveTo>
                    <a:pt x="126" y="6"/>
                  </a:moveTo>
                  <a:lnTo>
                    <a:pt x="140" y="18"/>
                  </a:lnTo>
                  <a:lnTo>
                    <a:pt x="156" y="24"/>
                  </a:lnTo>
                  <a:lnTo>
                    <a:pt x="164" y="28"/>
                  </a:lnTo>
                  <a:lnTo>
                    <a:pt x="176" y="42"/>
                  </a:lnTo>
                  <a:lnTo>
                    <a:pt x="182" y="56"/>
                  </a:lnTo>
                  <a:lnTo>
                    <a:pt x="182" y="72"/>
                  </a:lnTo>
                  <a:lnTo>
                    <a:pt x="184" y="90"/>
                  </a:lnTo>
                  <a:lnTo>
                    <a:pt x="172" y="92"/>
                  </a:lnTo>
                  <a:lnTo>
                    <a:pt x="172" y="108"/>
                  </a:lnTo>
                  <a:lnTo>
                    <a:pt x="156" y="116"/>
                  </a:lnTo>
                  <a:lnTo>
                    <a:pt x="142" y="116"/>
                  </a:lnTo>
                  <a:lnTo>
                    <a:pt x="130" y="122"/>
                  </a:lnTo>
                  <a:lnTo>
                    <a:pt x="120" y="122"/>
                  </a:lnTo>
                  <a:lnTo>
                    <a:pt x="104" y="144"/>
                  </a:lnTo>
                  <a:lnTo>
                    <a:pt x="94" y="154"/>
                  </a:lnTo>
                  <a:lnTo>
                    <a:pt x="80" y="150"/>
                  </a:lnTo>
                  <a:lnTo>
                    <a:pt x="70" y="158"/>
                  </a:lnTo>
                  <a:lnTo>
                    <a:pt x="48" y="162"/>
                  </a:lnTo>
                  <a:lnTo>
                    <a:pt x="48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28" y="160"/>
                  </a:lnTo>
                  <a:lnTo>
                    <a:pt x="24" y="148"/>
                  </a:lnTo>
                  <a:lnTo>
                    <a:pt x="8" y="130"/>
                  </a:lnTo>
                  <a:lnTo>
                    <a:pt x="10" y="116"/>
                  </a:lnTo>
                  <a:lnTo>
                    <a:pt x="0" y="100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4" y="66"/>
                  </a:lnTo>
                  <a:lnTo>
                    <a:pt x="16" y="64"/>
                  </a:lnTo>
                  <a:lnTo>
                    <a:pt x="14" y="48"/>
                  </a:lnTo>
                  <a:lnTo>
                    <a:pt x="40" y="30"/>
                  </a:lnTo>
                  <a:lnTo>
                    <a:pt x="52" y="40"/>
                  </a:lnTo>
                  <a:lnTo>
                    <a:pt x="54" y="26"/>
                  </a:lnTo>
                  <a:lnTo>
                    <a:pt x="62" y="24"/>
                  </a:lnTo>
                  <a:lnTo>
                    <a:pt x="80" y="18"/>
                  </a:lnTo>
                  <a:lnTo>
                    <a:pt x="94" y="8"/>
                  </a:lnTo>
                  <a:lnTo>
                    <a:pt x="108" y="8"/>
                  </a:lnTo>
                  <a:lnTo>
                    <a:pt x="118" y="0"/>
                  </a:lnTo>
                  <a:lnTo>
                    <a:pt x="126" y="6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2" name="Freeform 57"/>
            <p:cNvSpPr>
              <a:spLocks/>
            </p:cNvSpPr>
            <p:nvPr/>
          </p:nvSpPr>
          <p:spPr bwMode="gray">
            <a:xfrm>
              <a:off x="2926760" y="4938898"/>
              <a:ext cx="165917" cy="296997"/>
            </a:xfrm>
            <a:custGeom>
              <a:avLst/>
              <a:gdLst>
                <a:gd name="T0" fmla="*/ 6 w 152"/>
                <a:gd name="T1" fmla="*/ 78 h 284"/>
                <a:gd name="T2" fmla="*/ 6 w 152"/>
                <a:gd name="T3" fmla="*/ 54 h 284"/>
                <a:gd name="T4" fmla="*/ 0 w 152"/>
                <a:gd name="T5" fmla="*/ 44 h 284"/>
                <a:gd name="T6" fmla="*/ 4 w 152"/>
                <a:gd name="T7" fmla="*/ 38 h 284"/>
                <a:gd name="T8" fmla="*/ 22 w 152"/>
                <a:gd name="T9" fmla="*/ 0 h 284"/>
                <a:gd name="T10" fmla="*/ 32 w 152"/>
                <a:gd name="T11" fmla="*/ 0 h 284"/>
                <a:gd name="T12" fmla="*/ 28 w 152"/>
                <a:gd name="T13" fmla="*/ 8 h 284"/>
                <a:gd name="T14" fmla="*/ 34 w 152"/>
                <a:gd name="T15" fmla="*/ 16 h 284"/>
                <a:gd name="T16" fmla="*/ 50 w 152"/>
                <a:gd name="T17" fmla="*/ 2 h 284"/>
                <a:gd name="T18" fmla="*/ 62 w 152"/>
                <a:gd name="T19" fmla="*/ 8 h 284"/>
                <a:gd name="T20" fmla="*/ 64 w 152"/>
                <a:gd name="T21" fmla="*/ 18 h 284"/>
                <a:gd name="T22" fmla="*/ 86 w 152"/>
                <a:gd name="T23" fmla="*/ 26 h 284"/>
                <a:gd name="T24" fmla="*/ 96 w 152"/>
                <a:gd name="T25" fmla="*/ 50 h 284"/>
                <a:gd name="T26" fmla="*/ 98 w 152"/>
                <a:gd name="T27" fmla="*/ 62 h 284"/>
                <a:gd name="T28" fmla="*/ 100 w 152"/>
                <a:gd name="T29" fmla="*/ 80 h 284"/>
                <a:gd name="T30" fmla="*/ 100 w 152"/>
                <a:gd name="T31" fmla="*/ 92 h 284"/>
                <a:gd name="T32" fmla="*/ 94 w 152"/>
                <a:gd name="T33" fmla="*/ 96 h 284"/>
                <a:gd name="T34" fmla="*/ 104 w 152"/>
                <a:gd name="T35" fmla="*/ 112 h 284"/>
                <a:gd name="T36" fmla="*/ 102 w 152"/>
                <a:gd name="T37" fmla="*/ 126 h 284"/>
                <a:gd name="T38" fmla="*/ 118 w 152"/>
                <a:gd name="T39" fmla="*/ 144 h 284"/>
                <a:gd name="T40" fmla="*/ 122 w 152"/>
                <a:gd name="T41" fmla="*/ 156 h 284"/>
                <a:gd name="T42" fmla="*/ 130 w 152"/>
                <a:gd name="T43" fmla="*/ 156 h 284"/>
                <a:gd name="T44" fmla="*/ 134 w 152"/>
                <a:gd name="T45" fmla="*/ 152 h 284"/>
                <a:gd name="T46" fmla="*/ 142 w 152"/>
                <a:gd name="T47" fmla="*/ 152 h 284"/>
                <a:gd name="T48" fmla="*/ 142 w 152"/>
                <a:gd name="T49" fmla="*/ 158 h 284"/>
                <a:gd name="T50" fmla="*/ 144 w 152"/>
                <a:gd name="T51" fmla="*/ 170 h 284"/>
                <a:gd name="T52" fmla="*/ 152 w 152"/>
                <a:gd name="T53" fmla="*/ 176 h 284"/>
                <a:gd name="T54" fmla="*/ 146 w 152"/>
                <a:gd name="T55" fmla="*/ 194 h 284"/>
                <a:gd name="T56" fmla="*/ 136 w 152"/>
                <a:gd name="T57" fmla="*/ 196 h 284"/>
                <a:gd name="T58" fmla="*/ 130 w 152"/>
                <a:gd name="T59" fmla="*/ 216 h 284"/>
                <a:gd name="T60" fmla="*/ 130 w 152"/>
                <a:gd name="T61" fmla="*/ 232 h 284"/>
                <a:gd name="T62" fmla="*/ 126 w 152"/>
                <a:gd name="T63" fmla="*/ 238 h 284"/>
                <a:gd name="T64" fmla="*/ 116 w 152"/>
                <a:gd name="T65" fmla="*/ 238 h 284"/>
                <a:gd name="T66" fmla="*/ 108 w 152"/>
                <a:gd name="T67" fmla="*/ 252 h 284"/>
                <a:gd name="T68" fmla="*/ 114 w 152"/>
                <a:gd name="T69" fmla="*/ 262 h 284"/>
                <a:gd name="T70" fmla="*/ 114 w 152"/>
                <a:gd name="T71" fmla="*/ 268 h 284"/>
                <a:gd name="T72" fmla="*/ 108 w 152"/>
                <a:gd name="T73" fmla="*/ 268 h 284"/>
                <a:gd name="T74" fmla="*/ 108 w 152"/>
                <a:gd name="T75" fmla="*/ 276 h 284"/>
                <a:gd name="T76" fmla="*/ 98 w 152"/>
                <a:gd name="T77" fmla="*/ 284 h 284"/>
                <a:gd name="T78" fmla="*/ 86 w 152"/>
                <a:gd name="T79" fmla="*/ 280 h 284"/>
                <a:gd name="T80" fmla="*/ 86 w 152"/>
                <a:gd name="T81" fmla="*/ 268 h 284"/>
                <a:gd name="T82" fmla="*/ 68 w 152"/>
                <a:gd name="T83" fmla="*/ 248 h 284"/>
                <a:gd name="T84" fmla="*/ 42 w 152"/>
                <a:gd name="T85" fmla="*/ 238 h 284"/>
                <a:gd name="T86" fmla="*/ 24 w 152"/>
                <a:gd name="T87" fmla="*/ 220 h 284"/>
                <a:gd name="T88" fmla="*/ 36 w 152"/>
                <a:gd name="T89" fmla="*/ 222 h 284"/>
                <a:gd name="T90" fmla="*/ 36 w 152"/>
                <a:gd name="T91" fmla="*/ 212 h 284"/>
                <a:gd name="T92" fmla="*/ 32 w 152"/>
                <a:gd name="T93" fmla="*/ 204 h 284"/>
                <a:gd name="T94" fmla="*/ 20 w 152"/>
                <a:gd name="T95" fmla="*/ 196 h 284"/>
                <a:gd name="T96" fmla="*/ 26 w 152"/>
                <a:gd name="T97" fmla="*/ 172 h 284"/>
                <a:gd name="T98" fmla="*/ 32 w 152"/>
                <a:gd name="T99" fmla="*/ 170 h 284"/>
                <a:gd name="T100" fmla="*/ 34 w 152"/>
                <a:gd name="T101" fmla="*/ 164 h 284"/>
                <a:gd name="T102" fmla="*/ 24 w 152"/>
                <a:gd name="T103" fmla="*/ 152 h 284"/>
                <a:gd name="T104" fmla="*/ 28 w 152"/>
                <a:gd name="T105" fmla="*/ 140 h 284"/>
                <a:gd name="T106" fmla="*/ 18 w 152"/>
                <a:gd name="T107" fmla="*/ 120 h 284"/>
                <a:gd name="T108" fmla="*/ 24 w 152"/>
                <a:gd name="T109" fmla="*/ 112 h 284"/>
                <a:gd name="T110" fmla="*/ 24 w 152"/>
                <a:gd name="T111" fmla="*/ 104 h 284"/>
                <a:gd name="T112" fmla="*/ 30 w 152"/>
                <a:gd name="T113" fmla="*/ 102 h 284"/>
                <a:gd name="T114" fmla="*/ 26 w 152"/>
                <a:gd name="T115" fmla="*/ 94 h 284"/>
                <a:gd name="T116" fmla="*/ 26 w 152"/>
                <a:gd name="T117" fmla="*/ 80 h 284"/>
                <a:gd name="T118" fmla="*/ 18 w 152"/>
                <a:gd name="T119" fmla="*/ 76 h 284"/>
                <a:gd name="T120" fmla="*/ 6 w 152"/>
                <a:gd name="T121" fmla="*/ 78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2" h="284">
                  <a:moveTo>
                    <a:pt x="6" y="78"/>
                  </a:moveTo>
                  <a:lnTo>
                    <a:pt x="6" y="54"/>
                  </a:lnTo>
                  <a:lnTo>
                    <a:pt x="0" y="44"/>
                  </a:lnTo>
                  <a:lnTo>
                    <a:pt x="4" y="38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28" y="8"/>
                  </a:lnTo>
                  <a:lnTo>
                    <a:pt x="34" y="16"/>
                  </a:lnTo>
                  <a:lnTo>
                    <a:pt x="50" y="2"/>
                  </a:lnTo>
                  <a:lnTo>
                    <a:pt x="62" y="8"/>
                  </a:lnTo>
                  <a:lnTo>
                    <a:pt x="64" y="18"/>
                  </a:lnTo>
                  <a:lnTo>
                    <a:pt x="86" y="26"/>
                  </a:lnTo>
                  <a:lnTo>
                    <a:pt x="96" y="50"/>
                  </a:lnTo>
                  <a:lnTo>
                    <a:pt x="98" y="62"/>
                  </a:lnTo>
                  <a:lnTo>
                    <a:pt x="100" y="80"/>
                  </a:lnTo>
                  <a:lnTo>
                    <a:pt x="100" y="92"/>
                  </a:lnTo>
                  <a:lnTo>
                    <a:pt x="94" y="96"/>
                  </a:lnTo>
                  <a:lnTo>
                    <a:pt x="104" y="112"/>
                  </a:lnTo>
                  <a:lnTo>
                    <a:pt x="102" y="126"/>
                  </a:lnTo>
                  <a:lnTo>
                    <a:pt x="118" y="144"/>
                  </a:lnTo>
                  <a:lnTo>
                    <a:pt x="122" y="156"/>
                  </a:lnTo>
                  <a:lnTo>
                    <a:pt x="130" y="156"/>
                  </a:lnTo>
                  <a:lnTo>
                    <a:pt x="134" y="152"/>
                  </a:lnTo>
                  <a:lnTo>
                    <a:pt x="142" y="152"/>
                  </a:lnTo>
                  <a:lnTo>
                    <a:pt x="142" y="158"/>
                  </a:lnTo>
                  <a:lnTo>
                    <a:pt x="144" y="170"/>
                  </a:lnTo>
                  <a:lnTo>
                    <a:pt x="152" y="176"/>
                  </a:lnTo>
                  <a:lnTo>
                    <a:pt x="146" y="194"/>
                  </a:lnTo>
                  <a:lnTo>
                    <a:pt x="136" y="196"/>
                  </a:lnTo>
                  <a:lnTo>
                    <a:pt x="130" y="216"/>
                  </a:lnTo>
                  <a:lnTo>
                    <a:pt x="130" y="232"/>
                  </a:lnTo>
                  <a:lnTo>
                    <a:pt x="126" y="238"/>
                  </a:lnTo>
                  <a:lnTo>
                    <a:pt x="116" y="238"/>
                  </a:lnTo>
                  <a:lnTo>
                    <a:pt x="108" y="252"/>
                  </a:lnTo>
                  <a:lnTo>
                    <a:pt x="114" y="262"/>
                  </a:lnTo>
                  <a:lnTo>
                    <a:pt x="114" y="268"/>
                  </a:lnTo>
                  <a:lnTo>
                    <a:pt x="108" y="268"/>
                  </a:lnTo>
                  <a:lnTo>
                    <a:pt x="108" y="276"/>
                  </a:lnTo>
                  <a:lnTo>
                    <a:pt x="98" y="284"/>
                  </a:lnTo>
                  <a:lnTo>
                    <a:pt x="86" y="280"/>
                  </a:lnTo>
                  <a:lnTo>
                    <a:pt x="86" y="268"/>
                  </a:lnTo>
                  <a:lnTo>
                    <a:pt x="68" y="248"/>
                  </a:lnTo>
                  <a:lnTo>
                    <a:pt x="42" y="238"/>
                  </a:lnTo>
                  <a:lnTo>
                    <a:pt x="24" y="220"/>
                  </a:lnTo>
                  <a:lnTo>
                    <a:pt x="36" y="222"/>
                  </a:lnTo>
                  <a:lnTo>
                    <a:pt x="36" y="212"/>
                  </a:lnTo>
                  <a:lnTo>
                    <a:pt x="32" y="204"/>
                  </a:lnTo>
                  <a:lnTo>
                    <a:pt x="20" y="196"/>
                  </a:lnTo>
                  <a:lnTo>
                    <a:pt x="26" y="172"/>
                  </a:lnTo>
                  <a:lnTo>
                    <a:pt x="32" y="170"/>
                  </a:lnTo>
                  <a:lnTo>
                    <a:pt x="34" y="164"/>
                  </a:lnTo>
                  <a:lnTo>
                    <a:pt x="24" y="152"/>
                  </a:lnTo>
                  <a:lnTo>
                    <a:pt x="28" y="140"/>
                  </a:lnTo>
                  <a:lnTo>
                    <a:pt x="18" y="120"/>
                  </a:lnTo>
                  <a:lnTo>
                    <a:pt x="24" y="112"/>
                  </a:lnTo>
                  <a:lnTo>
                    <a:pt x="24" y="104"/>
                  </a:lnTo>
                  <a:lnTo>
                    <a:pt x="30" y="102"/>
                  </a:lnTo>
                  <a:lnTo>
                    <a:pt x="26" y="94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6" y="78"/>
                  </a:lnTo>
                  <a:close/>
                </a:path>
              </a:pathLst>
            </a:custGeom>
            <a:solidFill>
              <a:srgbClr val="FF000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3" name="Freeform 58"/>
            <p:cNvSpPr>
              <a:spLocks/>
            </p:cNvSpPr>
            <p:nvPr/>
          </p:nvSpPr>
          <p:spPr bwMode="gray">
            <a:xfrm>
              <a:off x="3490077" y="4879875"/>
              <a:ext cx="231482" cy="230106"/>
            </a:xfrm>
            <a:custGeom>
              <a:avLst/>
              <a:gdLst>
                <a:gd name="T0" fmla="*/ 120 w 210"/>
                <a:gd name="T1" fmla="*/ 8 h 220"/>
                <a:gd name="T2" fmla="*/ 116 w 210"/>
                <a:gd name="T3" fmla="*/ 18 h 220"/>
                <a:gd name="T4" fmla="*/ 128 w 210"/>
                <a:gd name="T5" fmla="*/ 32 h 220"/>
                <a:gd name="T6" fmla="*/ 144 w 210"/>
                <a:gd name="T7" fmla="*/ 44 h 220"/>
                <a:gd name="T8" fmla="*/ 168 w 210"/>
                <a:gd name="T9" fmla="*/ 48 h 220"/>
                <a:gd name="T10" fmla="*/ 194 w 210"/>
                <a:gd name="T11" fmla="*/ 54 h 220"/>
                <a:gd name="T12" fmla="*/ 210 w 210"/>
                <a:gd name="T13" fmla="*/ 54 h 220"/>
                <a:gd name="T14" fmla="*/ 210 w 210"/>
                <a:gd name="T15" fmla="*/ 66 h 220"/>
                <a:gd name="T16" fmla="*/ 208 w 210"/>
                <a:gd name="T17" fmla="*/ 74 h 220"/>
                <a:gd name="T18" fmla="*/ 202 w 210"/>
                <a:gd name="T19" fmla="*/ 82 h 220"/>
                <a:gd name="T20" fmla="*/ 192 w 210"/>
                <a:gd name="T21" fmla="*/ 84 h 220"/>
                <a:gd name="T22" fmla="*/ 180 w 210"/>
                <a:gd name="T23" fmla="*/ 84 h 220"/>
                <a:gd name="T24" fmla="*/ 176 w 210"/>
                <a:gd name="T25" fmla="*/ 80 h 220"/>
                <a:gd name="T26" fmla="*/ 168 w 210"/>
                <a:gd name="T27" fmla="*/ 84 h 220"/>
                <a:gd name="T28" fmla="*/ 154 w 210"/>
                <a:gd name="T29" fmla="*/ 84 h 220"/>
                <a:gd name="T30" fmla="*/ 142 w 210"/>
                <a:gd name="T31" fmla="*/ 88 h 220"/>
                <a:gd name="T32" fmla="*/ 132 w 210"/>
                <a:gd name="T33" fmla="*/ 100 h 220"/>
                <a:gd name="T34" fmla="*/ 120 w 210"/>
                <a:gd name="T35" fmla="*/ 100 h 220"/>
                <a:gd name="T36" fmla="*/ 104 w 210"/>
                <a:gd name="T37" fmla="*/ 106 h 220"/>
                <a:gd name="T38" fmla="*/ 100 w 210"/>
                <a:gd name="T39" fmla="*/ 124 h 220"/>
                <a:gd name="T40" fmla="*/ 92 w 210"/>
                <a:gd name="T41" fmla="*/ 136 h 220"/>
                <a:gd name="T42" fmla="*/ 84 w 210"/>
                <a:gd name="T43" fmla="*/ 148 h 220"/>
                <a:gd name="T44" fmla="*/ 70 w 210"/>
                <a:gd name="T45" fmla="*/ 160 h 220"/>
                <a:gd name="T46" fmla="*/ 54 w 210"/>
                <a:gd name="T47" fmla="*/ 174 h 220"/>
                <a:gd name="T48" fmla="*/ 44 w 210"/>
                <a:gd name="T49" fmla="*/ 190 h 220"/>
                <a:gd name="T50" fmla="*/ 38 w 210"/>
                <a:gd name="T51" fmla="*/ 206 h 220"/>
                <a:gd name="T52" fmla="*/ 30 w 210"/>
                <a:gd name="T53" fmla="*/ 218 h 220"/>
                <a:gd name="T54" fmla="*/ 24 w 210"/>
                <a:gd name="T55" fmla="*/ 212 h 220"/>
                <a:gd name="T56" fmla="*/ 28 w 210"/>
                <a:gd name="T57" fmla="*/ 200 h 220"/>
                <a:gd name="T58" fmla="*/ 24 w 210"/>
                <a:gd name="T59" fmla="*/ 192 h 220"/>
                <a:gd name="T60" fmla="*/ 34 w 210"/>
                <a:gd name="T61" fmla="*/ 178 h 220"/>
                <a:gd name="T62" fmla="*/ 44 w 210"/>
                <a:gd name="T63" fmla="*/ 170 h 220"/>
                <a:gd name="T64" fmla="*/ 54 w 210"/>
                <a:gd name="T65" fmla="*/ 162 h 220"/>
                <a:gd name="T66" fmla="*/ 60 w 210"/>
                <a:gd name="T67" fmla="*/ 158 h 220"/>
                <a:gd name="T68" fmla="*/ 56 w 210"/>
                <a:gd name="T69" fmla="*/ 148 h 220"/>
                <a:gd name="T70" fmla="*/ 46 w 210"/>
                <a:gd name="T71" fmla="*/ 158 h 220"/>
                <a:gd name="T72" fmla="*/ 22 w 210"/>
                <a:gd name="T73" fmla="*/ 164 h 220"/>
                <a:gd name="T74" fmla="*/ 2 w 210"/>
                <a:gd name="T75" fmla="*/ 160 h 220"/>
                <a:gd name="T76" fmla="*/ 10 w 210"/>
                <a:gd name="T77" fmla="*/ 142 h 220"/>
                <a:gd name="T78" fmla="*/ 12 w 210"/>
                <a:gd name="T79" fmla="*/ 116 h 220"/>
                <a:gd name="T80" fmla="*/ 30 w 210"/>
                <a:gd name="T81" fmla="*/ 82 h 220"/>
                <a:gd name="T82" fmla="*/ 0 w 210"/>
                <a:gd name="T83" fmla="*/ 58 h 220"/>
                <a:gd name="T84" fmla="*/ 4 w 210"/>
                <a:gd name="T85" fmla="*/ 46 h 220"/>
                <a:gd name="T86" fmla="*/ 14 w 210"/>
                <a:gd name="T87" fmla="*/ 40 h 220"/>
                <a:gd name="T88" fmla="*/ 18 w 210"/>
                <a:gd name="T89" fmla="*/ 28 h 220"/>
                <a:gd name="T90" fmla="*/ 40 w 210"/>
                <a:gd name="T91" fmla="*/ 18 h 220"/>
                <a:gd name="T92" fmla="*/ 58 w 210"/>
                <a:gd name="T93" fmla="*/ 8 h 220"/>
                <a:gd name="T94" fmla="*/ 66 w 210"/>
                <a:gd name="T95" fmla="*/ 6 h 220"/>
                <a:gd name="T96" fmla="*/ 86 w 210"/>
                <a:gd name="T97" fmla="*/ 14 h 220"/>
                <a:gd name="T98" fmla="*/ 102 w 210"/>
                <a:gd name="T99" fmla="*/ 10 h 220"/>
                <a:gd name="T100" fmla="*/ 114 w 210"/>
                <a:gd name="T10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0" h="220">
                  <a:moveTo>
                    <a:pt x="114" y="0"/>
                  </a:moveTo>
                  <a:lnTo>
                    <a:pt x="120" y="8"/>
                  </a:lnTo>
                  <a:lnTo>
                    <a:pt x="116" y="12"/>
                  </a:lnTo>
                  <a:lnTo>
                    <a:pt x="116" y="18"/>
                  </a:lnTo>
                  <a:lnTo>
                    <a:pt x="120" y="24"/>
                  </a:lnTo>
                  <a:lnTo>
                    <a:pt x="128" y="32"/>
                  </a:lnTo>
                  <a:lnTo>
                    <a:pt x="136" y="40"/>
                  </a:lnTo>
                  <a:lnTo>
                    <a:pt x="144" y="44"/>
                  </a:lnTo>
                  <a:lnTo>
                    <a:pt x="156" y="48"/>
                  </a:lnTo>
                  <a:lnTo>
                    <a:pt x="168" y="48"/>
                  </a:lnTo>
                  <a:lnTo>
                    <a:pt x="184" y="50"/>
                  </a:lnTo>
                  <a:lnTo>
                    <a:pt x="194" y="54"/>
                  </a:lnTo>
                  <a:lnTo>
                    <a:pt x="204" y="54"/>
                  </a:lnTo>
                  <a:lnTo>
                    <a:pt x="210" y="54"/>
                  </a:lnTo>
                  <a:lnTo>
                    <a:pt x="210" y="60"/>
                  </a:lnTo>
                  <a:lnTo>
                    <a:pt x="210" y="66"/>
                  </a:lnTo>
                  <a:lnTo>
                    <a:pt x="206" y="70"/>
                  </a:lnTo>
                  <a:lnTo>
                    <a:pt x="208" y="74"/>
                  </a:lnTo>
                  <a:lnTo>
                    <a:pt x="208" y="80"/>
                  </a:lnTo>
                  <a:lnTo>
                    <a:pt x="202" y="82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4" y="86"/>
                  </a:lnTo>
                  <a:lnTo>
                    <a:pt x="180" y="84"/>
                  </a:lnTo>
                  <a:lnTo>
                    <a:pt x="178" y="82"/>
                  </a:lnTo>
                  <a:lnTo>
                    <a:pt x="176" y="80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62" y="84"/>
                  </a:lnTo>
                  <a:lnTo>
                    <a:pt x="154" y="84"/>
                  </a:lnTo>
                  <a:lnTo>
                    <a:pt x="148" y="86"/>
                  </a:lnTo>
                  <a:lnTo>
                    <a:pt x="142" y="88"/>
                  </a:lnTo>
                  <a:lnTo>
                    <a:pt x="138" y="96"/>
                  </a:lnTo>
                  <a:lnTo>
                    <a:pt x="132" y="100"/>
                  </a:lnTo>
                  <a:lnTo>
                    <a:pt x="126" y="102"/>
                  </a:lnTo>
                  <a:lnTo>
                    <a:pt x="120" y="100"/>
                  </a:lnTo>
                  <a:lnTo>
                    <a:pt x="114" y="102"/>
                  </a:lnTo>
                  <a:lnTo>
                    <a:pt x="104" y="106"/>
                  </a:lnTo>
                  <a:lnTo>
                    <a:pt x="100" y="112"/>
                  </a:lnTo>
                  <a:lnTo>
                    <a:pt x="100" y="124"/>
                  </a:lnTo>
                  <a:lnTo>
                    <a:pt x="96" y="130"/>
                  </a:lnTo>
                  <a:lnTo>
                    <a:pt x="92" y="136"/>
                  </a:lnTo>
                  <a:lnTo>
                    <a:pt x="90" y="142"/>
                  </a:lnTo>
                  <a:lnTo>
                    <a:pt x="84" y="148"/>
                  </a:lnTo>
                  <a:lnTo>
                    <a:pt x="74" y="154"/>
                  </a:lnTo>
                  <a:lnTo>
                    <a:pt x="70" y="160"/>
                  </a:lnTo>
                  <a:lnTo>
                    <a:pt x="62" y="166"/>
                  </a:lnTo>
                  <a:lnTo>
                    <a:pt x="54" y="174"/>
                  </a:lnTo>
                  <a:lnTo>
                    <a:pt x="50" y="184"/>
                  </a:lnTo>
                  <a:lnTo>
                    <a:pt x="44" y="190"/>
                  </a:lnTo>
                  <a:lnTo>
                    <a:pt x="38" y="198"/>
                  </a:lnTo>
                  <a:lnTo>
                    <a:pt x="38" y="206"/>
                  </a:lnTo>
                  <a:lnTo>
                    <a:pt x="34" y="212"/>
                  </a:lnTo>
                  <a:lnTo>
                    <a:pt x="30" y="218"/>
                  </a:lnTo>
                  <a:lnTo>
                    <a:pt x="24" y="220"/>
                  </a:lnTo>
                  <a:lnTo>
                    <a:pt x="24" y="212"/>
                  </a:lnTo>
                  <a:lnTo>
                    <a:pt x="28" y="206"/>
                  </a:lnTo>
                  <a:lnTo>
                    <a:pt x="28" y="200"/>
                  </a:lnTo>
                  <a:lnTo>
                    <a:pt x="26" y="196"/>
                  </a:lnTo>
                  <a:lnTo>
                    <a:pt x="24" y="192"/>
                  </a:lnTo>
                  <a:lnTo>
                    <a:pt x="30" y="184"/>
                  </a:lnTo>
                  <a:lnTo>
                    <a:pt x="34" y="178"/>
                  </a:lnTo>
                  <a:lnTo>
                    <a:pt x="42" y="174"/>
                  </a:lnTo>
                  <a:lnTo>
                    <a:pt x="44" y="170"/>
                  </a:lnTo>
                  <a:lnTo>
                    <a:pt x="50" y="166"/>
                  </a:lnTo>
                  <a:lnTo>
                    <a:pt x="54" y="162"/>
                  </a:lnTo>
                  <a:lnTo>
                    <a:pt x="58" y="160"/>
                  </a:lnTo>
                  <a:lnTo>
                    <a:pt x="60" y="158"/>
                  </a:lnTo>
                  <a:lnTo>
                    <a:pt x="62" y="156"/>
                  </a:lnTo>
                  <a:lnTo>
                    <a:pt x="56" y="148"/>
                  </a:lnTo>
                  <a:lnTo>
                    <a:pt x="50" y="152"/>
                  </a:lnTo>
                  <a:lnTo>
                    <a:pt x="46" y="158"/>
                  </a:lnTo>
                  <a:lnTo>
                    <a:pt x="32" y="162"/>
                  </a:lnTo>
                  <a:lnTo>
                    <a:pt x="22" y="164"/>
                  </a:lnTo>
                  <a:lnTo>
                    <a:pt x="8" y="166"/>
                  </a:lnTo>
                  <a:lnTo>
                    <a:pt x="2" y="160"/>
                  </a:lnTo>
                  <a:lnTo>
                    <a:pt x="2" y="158"/>
                  </a:lnTo>
                  <a:lnTo>
                    <a:pt x="10" y="142"/>
                  </a:lnTo>
                  <a:lnTo>
                    <a:pt x="18" y="132"/>
                  </a:lnTo>
                  <a:lnTo>
                    <a:pt x="12" y="116"/>
                  </a:lnTo>
                  <a:lnTo>
                    <a:pt x="12" y="102"/>
                  </a:lnTo>
                  <a:lnTo>
                    <a:pt x="30" y="82"/>
                  </a:lnTo>
                  <a:lnTo>
                    <a:pt x="18" y="60"/>
                  </a:lnTo>
                  <a:lnTo>
                    <a:pt x="0" y="58"/>
                  </a:lnTo>
                  <a:lnTo>
                    <a:pt x="0" y="50"/>
                  </a:lnTo>
                  <a:lnTo>
                    <a:pt x="4" y="46"/>
                  </a:lnTo>
                  <a:lnTo>
                    <a:pt x="12" y="42"/>
                  </a:lnTo>
                  <a:lnTo>
                    <a:pt x="14" y="40"/>
                  </a:lnTo>
                  <a:lnTo>
                    <a:pt x="14" y="32"/>
                  </a:lnTo>
                  <a:lnTo>
                    <a:pt x="18" y="28"/>
                  </a:lnTo>
                  <a:lnTo>
                    <a:pt x="24" y="26"/>
                  </a:lnTo>
                  <a:lnTo>
                    <a:pt x="40" y="18"/>
                  </a:lnTo>
                  <a:lnTo>
                    <a:pt x="44" y="8"/>
                  </a:lnTo>
                  <a:lnTo>
                    <a:pt x="58" y="8"/>
                  </a:lnTo>
                  <a:lnTo>
                    <a:pt x="60" y="2"/>
                  </a:lnTo>
                  <a:lnTo>
                    <a:pt x="66" y="6"/>
                  </a:lnTo>
                  <a:lnTo>
                    <a:pt x="76" y="14"/>
                  </a:lnTo>
                  <a:lnTo>
                    <a:pt x="86" y="14"/>
                  </a:lnTo>
                  <a:lnTo>
                    <a:pt x="88" y="10"/>
                  </a:lnTo>
                  <a:lnTo>
                    <a:pt x="102" y="10"/>
                  </a:lnTo>
                  <a:lnTo>
                    <a:pt x="102" y="2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4" name="Freeform 59"/>
            <p:cNvSpPr>
              <a:spLocks/>
            </p:cNvSpPr>
            <p:nvPr/>
          </p:nvSpPr>
          <p:spPr bwMode="gray">
            <a:xfrm>
              <a:off x="3631910" y="5031049"/>
              <a:ext cx="28099" cy="17392"/>
            </a:xfrm>
            <a:custGeom>
              <a:avLst/>
              <a:gdLst>
                <a:gd name="T0" fmla="*/ 24 w 26"/>
                <a:gd name="T1" fmla="*/ 0 h 16"/>
                <a:gd name="T2" fmla="*/ 26 w 26"/>
                <a:gd name="T3" fmla="*/ 6 h 16"/>
                <a:gd name="T4" fmla="*/ 20 w 26"/>
                <a:gd name="T5" fmla="*/ 8 h 16"/>
                <a:gd name="T6" fmla="*/ 20 w 26"/>
                <a:gd name="T7" fmla="*/ 14 h 16"/>
                <a:gd name="T8" fmla="*/ 12 w 26"/>
                <a:gd name="T9" fmla="*/ 16 h 16"/>
                <a:gd name="T10" fmla="*/ 6 w 26"/>
                <a:gd name="T11" fmla="*/ 14 h 16"/>
                <a:gd name="T12" fmla="*/ 2 w 26"/>
                <a:gd name="T13" fmla="*/ 10 h 16"/>
                <a:gd name="T14" fmla="*/ 0 w 26"/>
                <a:gd name="T15" fmla="*/ 6 h 16"/>
                <a:gd name="T16" fmla="*/ 2 w 26"/>
                <a:gd name="T17" fmla="*/ 0 h 16"/>
                <a:gd name="T18" fmla="*/ 8 w 26"/>
                <a:gd name="T19" fmla="*/ 0 h 16"/>
                <a:gd name="T20" fmla="*/ 14 w 26"/>
                <a:gd name="T21" fmla="*/ 2 h 16"/>
                <a:gd name="T22" fmla="*/ 18 w 26"/>
                <a:gd name="T23" fmla="*/ 0 h 16"/>
                <a:gd name="T24" fmla="*/ 22 w 26"/>
                <a:gd name="T25" fmla="*/ 0 h 16"/>
                <a:gd name="T26" fmla="*/ 24 w 26"/>
                <a:gd name="T2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16">
                  <a:moveTo>
                    <a:pt x="24" y="0"/>
                  </a:moveTo>
                  <a:lnTo>
                    <a:pt x="26" y="6"/>
                  </a:lnTo>
                  <a:lnTo>
                    <a:pt x="20" y="8"/>
                  </a:lnTo>
                  <a:lnTo>
                    <a:pt x="20" y="14"/>
                  </a:lnTo>
                  <a:lnTo>
                    <a:pt x="12" y="16"/>
                  </a:lnTo>
                  <a:lnTo>
                    <a:pt x="6" y="14"/>
                  </a:lnTo>
                  <a:lnTo>
                    <a:pt x="2" y="10"/>
                  </a:lnTo>
                  <a:lnTo>
                    <a:pt x="0" y="6"/>
                  </a:lnTo>
                  <a:lnTo>
                    <a:pt x="2" y="0"/>
                  </a:lnTo>
                  <a:lnTo>
                    <a:pt x="8" y="0"/>
                  </a:lnTo>
                  <a:lnTo>
                    <a:pt x="14" y="2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Freeform 60"/>
            <p:cNvSpPr>
              <a:spLocks/>
            </p:cNvSpPr>
            <p:nvPr/>
          </p:nvSpPr>
          <p:spPr bwMode="gray">
            <a:xfrm>
              <a:off x="2438374" y="4532200"/>
              <a:ext cx="226129" cy="160539"/>
            </a:xfrm>
            <a:custGeom>
              <a:avLst/>
              <a:gdLst>
                <a:gd name="T0" fmla="*/ 12 w 206"/>
                <a:gd name="T1" fmla="*/ 152 h 154"/>
                <a:gd name="T2" fmla="*/ 12 w 206"/>
                <a:gd name="T3" fmla="*/ 148 h 154"/>
                <a:gd name="T4" fmla="*/ 28 w 206"/>
                <a:gd name="T5" fmla="*/ 138 h 154"/>
                <a:gd name="T6" fmla="*/ 24 w 206"/>
                <a:gd name="T7" fmla="*/ 128 h 154"/>
                <a:gd name="T8" fmla="*/ 14 w 206"/>
                <a:gd name="T9" fmla="*/ 116 h 154"/>
                <a:gd name="T10" fmla="*/ 18 w 206"/>
                <a:gd name="T11" fmla="*/ 104 h 154"/>
                <a:gd name="T12" fmla="*/ 6 w 206"/>
                <a:gd name="T13" fmla="*/ 104 h 154"/>
                <a:gd name="T14" fmla="*/ 4 w 206"/>
                <a:gd name="T15" fmla="*/ 96 h 154"/>
                <a:gd name="T16" fmla="*/ 14 w 206"/>
                <a:gd name="T17" fmla="*/ 84 h 154"/>
                <a:gd name="T18" fmla="*/ 0 w 206"/>
                <a:gd name="T19" fmla="*/ 78 h 154"/>
                <a:gd name="T20" fmla="*/ 0 w 206"/>
                <a:gd name="T21" fmla="*/ 66 h 154"/>
                <a:gd name="T22" fmla="*/ 20 w 206"/>
                <a:gd name="T23" fmla="*/ 50 h 154"/>
                <a:gd name="T24" fmla="*/ 44 w 206"/>
                <a:gd name="T25" fmla="*/ 52 h 154"/>
                <a:gd name="T26" fmla="*/ 50 w 206"/>
                <a:gd name="T27" fmla="*/ 56 h 154"/>
                <a:gd name="T28" fmla="*/ 76 w 206"/>
                <a:gd name="T29" fmla="*/ 58 h 154"/>
                <a:gd name="T30" fmla="*/ 98 w 206"/>
                <a:gd name="T31" fmla="*/ 36 h 154"/>
                <a:gd name="T32" fmla="*/ 140 w 206"/>
                <a:gd name="T33" fmla="*/ 30 h 154"/>
                <a:gd name="T34" fmla="*/ 146 w 206"/>
                <a:gd name="T35" fmla="*/ 22 h 154"/>
                <a:gd name="T36" fmla="*/ 158 w 206"/>
                <a:gd name="T37" fmla="*/ 20 h 154"/>
                <a:gd name="T38" fmla="*/ 168 w 206"/>
                <a:gd name="T39" fmla="*/ 22 h 154"/>
                <a:gd name="T40" fmla="*/ 170 w 206"/>
                <a:gd name="T41" fmla="*/ 6 h 154"/>
                <a:gd name="T42" fmla="*/ 178 w 206"/>
                <a:gd name="T43" fmla="*/ 0 h 154"/>
                <a:gd name="T44" fmla="*/ 190 w 206"/>
                <a:gd name="T45" fmla="*/ 4 h 154"/>
                <a:gd name="T46" fmla="*/ 192 w 206"/>
                <a:gd name="T47" fmla="*/ 16 h 154"/>
                <a:gd name="T48" fmla="*/ 206 w 206"/>
                <a:gd name="T49" fmla="*/ 34 h 154"/>
                <a:gd name="T50" fmla="*/ 206 w 206"/>
                <a:gd name="T51" fmla="*/ 38 h 154"/>
                <a:gd name="T52" fmla="*/ 190 w 206"/>
                <a:gd name="T53" fmla="*/ 34 h 154"/>
                <a:gd name="T54" fmla="*/ 190 w 206"/>
                <a:gd name="T55" fmla="*/ 52 h 154"/>
                <a:gd name="T56" fmla="*/ 170 w 206"/>
                <a:gd name="T57" fmla="*/ 62 h 154"/>
                <a:gd name="T58" fmla="*/ 156 w 206"/>
                <a:gd name="T59" fmla="*/ 84 h 154"/>
                <a:gd name="T60" fmla="*/ 146 w 206"/>
                <a:gd name="T61" fmla="*/ 106 h 154"/>
                <a:gd name="T62" fmla="*/ 128 w 206"/>
                <a:gd name="T63" fmla="*/ 124 h 154"/>
                <a:gd name="T64" fmla="*/ 132 w 206"/>
                <a:gd name="T65" fmla="*/ 150 h 154"/>
                <a:gd name="T66" fmla="*/ 98 w 206"/>
                <a:gd name="T67" fmla="*/ 146 h 154"/>
                <a:gd name="T68" fmla="*/ 80 w 206"/>
                <a:gd name="T69" fmla="*/ 128 h 154"/>
                <a:gd name="T70" fmla="*/ 60 w 206"/>
                <a:gd name="T71" fmla="*/ 150 h 154"/>
                <a:gd name="T72" fmla="*/ 32 w 206"/>
                <a:gd name="T73" fmla="*/ 154 h 154"/>
                <a:gd name="T74" fmla="*/ 12 w 206"/>
                <a:gd name="T75" fmla="*/ 15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6" h="154">
                  <a:moveTo>
                    <a:pt x="12" y="152"/>
                  </a:moveTo>
                  <a:lnTo>
                    <a:pt x="12" y="148"/>
                  </a:lnTo>
                  <a:lnTo>
                    <a:pt x="28" y="138"/>
                  </a:lnTo>
                  <a:lnTo>
                    <a:pt x="24" y="128"/>
                  </a:lnTo>
                  <a:lnTo>
                    <a:pt x="14" y="116"/>
                  </a:lnTo>
                  <a:lnTo>
                    <a:pt x="18" y="104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4" y="84"/>
                  </a:lnTo>
                  <a:lnTo>
                    <a:pt x="0" y="78"/>
                  </a:lnTo>
                  <a:lnTo>
                    <a:pt x="0" y="66"/>
                  </a:lnTo>
                  <a:lnTo>
                    <a:pt x="20" y="50"/>
                  </a:lnTo>
                  <a:lnTo>
                    <a:pt x="44" y="52"/>
                  </a:lnTo>
                  <a:lnTo>
                    <a:pt x="50" y="56"/>
                  </a:lnTo>
                  <a:lnTo>
                    <a:pt x="76" y="58"/>
                  </a:lnTo>
                  <a:lnTo>
                    <a:pt x="98" y="36"/>
                  </a:lnTo>
                  <a:lnTo>
                    <a:pt x="140" y="30"/>
                  </a:lnTo>
                  <a:lnTo>
                    <a:pt x="146" y="22"/>
                  </a:lnTo>
                  <a:lnTo>
                    <a:pt x="158" y="20"/>
                  </a:lnTo>
                  <a:lnTo>
                    <a:pt x="168" y="22"/>
                  </a:lnTo>
                  <a:lnTo>
                    <a:pt x="170" y="6"/>
                  </a:lnTo>
                  <a:lnTo>
                    <a:pt x="178" y="0"/>
                  </a:lnTo>
                  <a:lnTo>
                    <a:pt x="190" y="4"/>
                  </a:lnTo>
                  <a:lnTo>
                    <a:pt x="192" y="16"/>
                  </a:lnTo>
                  <a:lnTo>
                    <a:pt x="206" y="34"/>
                  </a:lnTo>
                  <a:lnTo>
                    <a:pt x="206" y="38"/>
                  </a:lnTo>
                  <a:lnTo>
                    <a:pt x="190" y="34"/>
                  </a:lnTo>
                  <a:lnTo>
                    <a:pt x="190" y="52"/>
                  </a:lnTo>
                  <a:lnTo>
                    <a:pt x="170" y="62"/>
                  </a:lnTo>
                  <a:lnTo>
                    <a:pt x="156" y="84"/>
                  </a:lnTo>
                  <a:lnTo>
                    <a:pt x="146" y="106"/>
                  </a:lnTo>
                  <a:lnTo>
                    <a:pt x="128" y="124"/>
                  </a:lnTo>
                  <a:lnTo>
                    <a:pt x="132" y="150"/>
                  </a:lnTo>
                  <a:lnTo>
                    <a:pt x="98" y="146"/>
                  </a:lnTo>
                  <a:lnTo>
                    <a:pt x="80" y="128"/>
                  </a:lnTo>
                  <a:lnTo>
                    <a:pt x="60" y="150"/>
                  </a:lnTo>
                  <a:lnTo>
                    <a:pt x="32" y="154"/>
                  </a:lnTo>
                  <a:lnTo>
                    <a:pt x="12" y="15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6" name="Freeform 61"/>
            <p:cNvSpPr>
              <a:spLocks/>
            </p:cNvSpPr>
            <p:nvPr/>
          </p:nvSpPr>
          <p:spPr bwMode="gray">
            <a:xfrm>
              <a:off x="2632390" y="4322161"/>
              <a:ext cx="470992" cy="313051"/>
            </a:xfrm>
            <a:custGeom>
              <a:avLst/>
              <a:gdLst>
                <a:gd name="T0" fmla="*/ 10 w 430"/>
                <a:gd name="T1" fmla="*/ 192 h 300"/>
                <a:gd name="T2" fmla="*/ 24 w 430"/>
                <a:gd name="T3" fmla="*/ 178 h 300"/>
                <a:gd name="T4" fmla="*/ 18 w 430"/>
                <a:gd name="T5" fmla="*/ 152 h 300"/>
                <a:gd name="T6" fmla="*/ 30 w 430"/>
                <a:gd name="T7" fmla="*/ 138 h 300"/>
                <a:gd name="T8" fmla="*/ 12 w 430"/>
                <a:gd name="T9" fmla="*/ 126 h 300"/>
                <a:gd name="T10" fmla="*/ 30 w 430"/>
                <a:gd name="T11" fmla="*/ 118 h 300"/>
                <a:gd name="T12" fmla="*/ 52 w 430"/>
                <a:gd name="T13" fmla="*/ 118 h 300"/>
                <a:gd name="T14" fmla="*/ 74 w 430"/>
                <a:gd name="T15" fmla="*/ 92 h 300"/>
                <a:gd name="T16" fmla="*/ 138 w 430"/>
                <a:gd name="T17" fmla="*/ 106 h 300"/>
                <a:gd name="T18" fmla="*/ 168 w 430"/>
                <a:gd name="T19" fmla="*/ 94 h 300"/>
                <a:gd name="T20" fmla="*/ 162 w 430"/>
                <a:gd name="T21" fmla="*/ 76 h 300"/>
                <a:gd name="T22" fmla="*/ 204 w 430"/>
                <a:gd name="T23" fmla="*/ 66 h 300"/>
                <a:gd name="T24" fmla="*/ 222 w 430"/>
                <a:gd name="T25" fmla="*/ 50 h 300"/>
                <a:gd name="T26" fmla="*/ 254 w 430"/>
                <a:gd name="T27" fmla="*/ 40 h 300"/>
                <a:gd name="T28" fmla="*/ 262 w 430"/>
                <a:gd name="T29" fmla="*/ 24 h 300"/>
                <a:gd name="T30" fmla="*/ 288 w 430"/>
                <a:gd name="T31" fmla="*/ 4 h 300"/>
                <a:gd name="T32" fmla="*/ 326 w 430"/>
                <a:gd name="T33" fmla="*/ 0 h 300"/>
                <a:gd name="T34" fmla="*/ 348 w 430"/>
                <a:gd name="T35" fmla="*/ 20 h 300"/>
                <a:gd name="T36" fmla="*/ 388 w 430"/>
                <a:gd name="T37" fmla="*/ 16 h 300"/>
                <a:gd name="T38" fmla="*/ 402 w 430"/>
                <a:gd name="T39" fmla="*/ 22 h 300"/>
                <a:gd name="T40" fmla="*/ 422 w 430"/>
                <a:gd name="T41" fmla="*/ 30 h 300"/>
                <a:gd name="T42" fmla="*/ 414 w 430"/>
                <a:gd name="T43" fmla="*/ 64 h 300"/>
                <a:gd name="T44" fmla="*/ 390 w 430"/>
                <a:gd name="T45" fmla="*/ 74 h 300"/>
                <a:gd name="T46" fmla="*/ 378 w 430"/>
                <a:gd name="T47" fmla="*/ 94 h 300"/>
                <a:gd name="T48" fmla="*/ 376 w 430"/>
                <a:gd name="T49" fmla="*/ 116 h 300"/>
                <a:gd name="T50" fmla="*/ 358 w 430"/>
                <a:gd name="T51" fmla="*/ 184 h 300"/>
                <a:gd name="T52" fmla="*/ 348 w 430"/>
                <a:gd name="T53" fmla="*/ 206 h 300"/>
                <a:gd name="T54" fmla="*/ 316 w 430"/>
                <a:gd name="T55" fmla="*/ 228 h 300"/>
                <a:gd name="T56" fmla="*/ 282 w 430"/>
                <a:gd name="T57" fmla="*/ 246 h 300"/>
                <a:gd name="T58" fmla="*/ 238 w 430"/>
                <a:gd name="T59" fmla="*/ 248 h 300"/>
                <a:gd name="T60" fmla="*/ 208 w 430"/>
                <a:gd name="T61" fmla="*/ 268 h 300"/>
                <a:gd name="T62" fmla="*/ 186 w 430"/>
                <a:gd name="T63" fmla="*/ 278 h 300"/>
                <a:gd name="T64" fmla="*/ 134 w 430"/>
                <a:gd name="T65" fmla="*/ 300 h 300"/>
                <a:gd name="T66" fmla="*/ 88 w 430"/>
                <a:gd name="T67" fmla="*/ 286 h 300"/>
                <a:gd name="T68" fmla="*/ 48 w 430"/>
                <a:gd name="T69" fmla="*/ 254 h 300"/>
                <a:gd name="T70" fmla="*/ 28 w 430"/>
                <a:gd name="T71" fmla="*/ 236 h 300"/>
                <a:gd name="T72" fmla="*/ 12 w 430"/>
                <a:gd name="T73" fmla="*/ 20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30" h="300">
                  <a:moveTo>
                    <a:pt x="0" y="202"/>
                  </a:moveTo>
                  <a:lnTo>
                    <a:pt x="10" y="192"/>
                  </a:lnTo>
                  <a:lnTo>
                    <a:pt x="20" y="190"/>
                  </a:lnTo>
                  <a:lnTo>
                    <a:pt x="24" y="178"/>
                  </a:lnTo>
                  <a:lnTo>
                    <a:pt x="18" y="174"/>
                  </a:lnTo>
                  <a:lnTo>
                    <a:pt x="18" y="152"/>
                  </a:lnTo>
                  <a:lnTo>
                    <a:pt x="26" y="148"/>
                  </a:lnTo>
                  <a:lnTo>
                    <a:pt x="30" y="138"/>
                  </a:lnTo>
                  <a:lnTo>
                    <a:pt x="26" y="130"/>
                  </a:lnTo>
                  <a:lnTo>
                    <a:pt x="12" y="126"/>
                  </a:lnTo>
                  <a:lnTo>
                    <a:pt x="20" y="118"/>
                  </a:lnTo>
                  <a:lnTo>
                    <a:pt x="30" y="118"/>
                  </a:lnTo>
                  <a:lnTo>
                    <a:pt x="36" y="122"/>
                  </a:lnTo>
                  <a:lnTo>
                    <a:pt x="52" y="118"/>
                  </a:lnTo>
                  <a:lnTo>
                    <a:pt x="52" y="80"/>
                  </a:lnTo>
                  <a:lnTo>
                    <a:pt x="74" y="92"/>
                  </a:lnTo>
                  <a:lnTo>
                    <a:pt x="98" y="110"/>
                  </a:lnTo>
                  <a:lnTo>
                    <a:pt x="138" y="106"/>
                  </a:lnTo>
                  <a:lnTo>
                    <a:pt x="158" y="104"/>
                  </a:lnTo>
                  <a:lnTo>
                    <a:pt x="168" y="94"/>
                  </a:lnTo>
                  <a:lnTo>
                    <a:pt x="162" y="88"/>
                  </a:lnTo>
                  <a:lnTo>
                    <a:pt x="162" y="76"/>
                  </a:lnTo>
                  <a:lnTo>
                    <a:pt x="168" y="72"/>
                  </a:lnTo>
                  <a:lnTo>
                    <a:pt x="204" y="66"/>
                  </a:lnTo>
                  <a:lnTo>
                    <a:pt x="210" y="50"/>
                  </a:lnTo>
                  <a:lnTo>
                    <a:pt x="222" y="50"/>
                  </a:lnTo>
                  <a:lnTo>
                    <a:pt x="236" y="56"/>
                  </a:lnTo>
                  <a:lnTo>
                    <a:pt x="254" y="40"/>
                  </a:lnTo>
                  <a:lnTo>
                    <a:pt x="260" y="38"/>
                  </a:lnTo>
                  <a:lnTo>
                    <a:pt x="262" y="24"/>
                  </a:lnTo>
                  <a:lnTo>
                    <a:pt x="270" y="10"/>
                  </a:lnTo>
                  <a:lnTo>
                    <a:pt x="288" y="4"/>
                  </a:lnTo>
                  <a:lnTo>
                    <a:pt x="306" y="10"/>
                  </a:lnTo>
                  <a:lnTo>
                    <a:pt x="326" y="0"/>
                  </a:lnTo>
                  <a:lnTo>
                    <a:pt x="340" y="8"/>
                  </a:lnTo>
                  <a:lnTo>
                    <a:pt x="348" y="20"/>
                  </a:lnTo>
                  <a:lnTo>
                    <a:pt x="374" y="8"/>
                  </a:lnTo>
                  <a:lnTo>
                    <a:pt x="388" y="16"/>
                  </a:lnTo>
                  <a:lnTo>
                    <a:pt x="390" y="24"/>
                  </a:lnTo>
                  <a:lnTo>
                    <a:pt x="402" y="22"/>
                  </a:lnTo>
                  <a:lnTo>
                    <a:pt x="410" y="32"/>
                  </a:lnTo>
                  <a:lnTo>
                    <a:pt x="422" y="30"/>
                  </a:lnTo>
                  <a:lnTo>
                    <a:pt x="430" y="40"/>
                  </a:lnTo>
                  <a:lnTo>
                    <a:pt x="414" y="64"/>
                  </a:lnTo>
                  <a:lnTo>
                    <a:pt x="402" y="64"/>
                  </a:lnTo>
                  <a:lnTo>
                    <a:pt x="390" y="74"/>
                  </a:lnTo>
                  <a:lnTo>
                    <a:pt x="390" y="84"/>
                  </a:lnTo>
                  <a:lnTo>
                    <a:pt x="378" y="94"/>
                  </a:lnTo>
                  <a:lnTo>
                    <a:pt x="382" y="108"/>
                  </a:lnTo>
                  <a:lnTo>
                    <a:pt x="376" y="116"/>
                  </a:lnTo>
                  <a:lnTo>
                    <a:pt x="358" y="166"/>
                  </a:lnTo>
                  <a:lnTo>
                    <a:pt x="358" y="184"/>
                  </a:lnTo>
                  <a:lnTo>
                    <a:pt x="346" y="188"/>
                  </a:lnTo>
                  <a:lnTo>
                    <a:pt x="348" y="206"/>
                  </a:lnTo>
                  <a:lnTo>
                    <a:pt x="336" y="226"/>
                  </a:lnTo>
                  <a:lnTo>
                    <a:pt x="316" y="228"/>
                  </a:lnTo>
                  <a:lnTo>
                    <a:pt x="312" y="242"/>
                  </a:lnTo>
                  <a:lnTo>
                    <a:pt x="282" y="246"/>
                  </a:lnTo>
                  <a:lnTo>
                    <a:pt x="262" y="246"/>
                  </a:lnTo>
                  <a:lnTo>
                    <a:pt x="238" y="248"/>
                  </a:lnTo>
                  <a:lnTo>
                    <a:pt x="220" y="268"/>
                  </a:lnTo>
                  <a:lnTo>
                    <a:pt x="208" y="268"/>
                  </a:lnTo>
                  <a:lnTo>
                    <a:pt x="198" y="276"/>
                  </a:lnTo>
                  <a:lnTo>
                    <a:pt x="186" y="278"/>
                  </a:lnTo>
                  <a:lnTo>
                    <a:pt x="166" y="296"/>
                  </a:lnTo>
                  <a:lnTo>
                    <a:pt x="134" y="300"/>
                  </a:lnTo>
                  <a:lnTo>
                    <a:pt x="112" y="292"/>
                  </a:lnTo>
                  <a:lnTo>
                    <a:pt x="88" y="286"/>
                  </a:lnTo>
                  <a:lnTo>
                    <a:pt x="70" y="268"/>
                  </a:lnTo>
                  <a:lnTo>
                    <a:pt x="48" y="254"/>
                  </a:lnTo>
                  <a:lnTo>
                    <a:pt x="28" y="240"/>
                  </a:lnTo>
                  <a:lnTo>
                    <a:pt x="28" y="236"/>
                  </a:lnTo>
                  <a:lnTo>
                    <a:pt x="14" y="218"/>
                  </a:lnTo>
                  <a:lnTo>
                    <a:pt x="12" y="206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000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Freeform 62"/>
            <p:cNvSpPr>
              <a:spLocks/>
            </p:cNvSpPr>
            <p:nvPr/>
          </p:nvSpPr>
          <p:spPr bwMode="gray">
            <a:xfrm>
              <a:off x="1884503" y="4459957"/>
              <a:ext cx="334511" cy="202011"/>
            </a:xfrm>
            <a:custGeom>
              <a:avLst/>
              <a:gdLst>
                <a:gd name="T0" fmla="*/ 273 w 305"/>
                <a:gd name="T1" fmla="*/ 92 h 194"/>
                <a:gd name="T2" fmla="*/ 299 w 305"/>
                <a:gd name="T3" fmla="*/ 80 h 194"/>
                <a:gd name="T4" fmla="*/ 305 w 305"/>
                <a:gd name="T5" fmla="*/ 94 h 194"/>
                <a:gd name="T6" fmla="*/ 301 w 305"/>
                <a:gd name="T7" fmla="*/ 112 h 194"/>
                <a:gd name="T8" fmla="*/ 305 w 305"/>
                <a:gd name="T9" fmla="*/ 124 h 194"/>
                <a:gd name="T10" fmla="*/ 285 w 305"/>
                <a:gd name="T11" fmla="*/ 116 h 194"/>
                <a:gd name="T12" fmla="*/ 283 w 305"/>
                <a:gd name="T13" fmla="*/ 136 h 194"/>
                <a:gd name="T14" fmla="*/ 285 w 305"/>
                <a:gd name="T15" fmla="*/ 152 h 194"/>
                <a:gd name="T16" fmla="*/ 267 w 305"/>
                <a:gd name="T17" fmla="*/ 138 h 194"/>
                <a:gd name="T18" fmla="*/ 237 w 305"/>
                <a:gd name="T19" fmla="*/ 142 h 194"/>
                <a:gd name="T20" fmla="*/ 224 w 305"/>
                <a:gd name="T21" fmla="*/ 130 h 194"/>
                <a:gd name="T22" fmla="*/ 206 w 305"/>
                <a:gd name="T23" fmla="*/ 170 h 194"/>
                <a:gd name="T24" fmla="*/ 210 w 305"/>
                <a:gd name="T25" fmla="*/ 192 h 194"/>
                <a:gd name="T26" fmla="*/ 198 w 305"/>
                <a:gd name="T27" fmla="*/ 182 h 194"/>
                <a:gd name="T28" fmla="*/ 196 w 305"/>
                <a:gd name="T29" fmla="*/ 168 h 194"/>
                <a:gd name="T30" fmla="*/ 168 w 305"/>
                <a:gd name="T31" fmla="*/ 154 h 194"/>
                <a:gd name="T32" fmla="*/ 160 w 305"/>
                <a:gd name="T33" fmla="*/ 132 h 194"/>
                <a:gd name="T34" fmla="*/ 144 w 305"/>
                <a:gd name="T35" fmla="*/ 148 h 194"/>
                <a:gd name="T36" fmla="*/ 136 w 305"/>
                <a:gd name="T37" fmla="*/ 176 h 194"/>
                <a:gd name="T38" fmla="*/ 112 w 305"/>
                <a:gd name="T39" fmla="*/ 176 h 194"/>
                <a:gd name="T40" fmla="*/ 76 w 305"/>
                <a:gd name="T41" fmla="*/ 186 h 194"/>
                <a:gd name="T42" fmla="*/ 66 w 305"/>
                <a:gd name="T43" fmla="*/ 168 h 194"/>
                <a:gd name="T44" fmla="*/ 58 w 305"/>
                <a:gd name="T45" fmla="*/ 142 h 194"/>
                <a:gd name="T46" fmla="*/ 34 w 305"/>
                <a:gd name="T47" fmla="*/ 132 h 194"/>
                <a:gd name="T48" fmla="*/ 22 w 305"/>
                <a:gd name="T49" fmla="*/ 146 h 194"/>
                <a:gd name="T50" fmla="*/ 0 w 305"/>
                <a:gd name="T51" fmla="*/ 154 h 194"/>
                <a:gd name="T52" fmla="*/ 8 w 305"/>
                <a:gd name="T53" fmla="*/ 144 h 194"/>
                <a:gd name="T54" fmla="*/ 8 w 305"/>
                <a:gd name="T55" fmla="*/ 124 h 194"/>
                <a:gd name="T56" fmla="*/ 34 w 305"/>
                <a:gd name="T57" fmla="*/ 98 h 194"/>
                <a:gd name="T58" fmla="*/ 54 w 305"/>
                <a:gd name="T59" fmla="*/ 70 h 194"/>
                <a:gd name="T60" fmla="*/ 72 w 305"/>
                <a:gd name="T61" fmla="*/ 44 h 194"/>
                <a:gd name="T62" fmla="*/ 84 w 305"/>
                <a:gd name="T63" fmla="*/ 28 h 194"/>
                <a:gd name="T64" fmla="*/ 100 w 305"/>
                <a:gd name="T65" fmla="*/ 34 h 194"/>
                <a:gd name="T66" fmla="*/ 112 w 305"/>
                <a:gd name="T67" fmla="*/ 16 h 194"/>
                <a:gd name="T68" fmla="*/ 130 w 305"/>
                <a:gd name="T69" fmla="*/ 16 h 194"/>
                <a:gd name="T70" fmla="*/ 158 w 305"/>
                <a:gd name="T71" fmla="*/ 16 h 194"/>
                <a:gd name="T72" fmla="*/ 178 w 305"/>
                <a:gd name="T73" fmla="*/ 20 h 194"/>
                <a:gd name="T74" fmla="*/ 180 w 305"/>
                <a:gd name="T75" fmla="*/ 0 h 194"/>
                <a:gd name="T76" fmla="*/ 200 w 305"/>
                <a:gd name="T77" fmla="*/ 16 h 194"/>
                <a:gd name="T78" fmla="*/ 226 w 305"/>
                <a:gd name="T79" fmla="*/ 18 h 194"/>
                <a:gd name="T80" fmla="*/ 251 w 305"/>
                <a:gd name="T81" fmla="*/ 34 h 194"/>
                <a:gd name="T82" fmla="*/ 245 w 305"/>
                <a:gd name="T83" fmla="*/ 50 h 194"/>
                <a:gd name="T84" fmla="*/ 241 w 305"/>
                <a:gd name="T85" fmla="*/ 72 h 194"/>
                <a:gd name="T86" fmla="*/ 265 w 305"/>
                <a:gd name="T87" fmla="*/ 8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5" h="194">
                  <a:moveTo>
                    <a:pt x="265" y="80"/>
                  </a:moveTo>
                  <a:lnTo>
                    <a:pt x="273" y="92"/>
                  </a:lnTo>
                  <a:lnTo>
                    <a:pt x="285" y="96"/>
                  </a:lnTo>
                  <a:lnTo>
                    <a:pt x="299" y="80"/>
                  </a:lnTo>
                  <a:lnTo>
                    <a:pt x="305" y="84"/>
                  </a:lnTo>
                  <a:lnTo>
                    <a:pt x="305" y="94"/>
                  </a:lnTo>
                  <a:lnTo>
                    <a:pt x="301" y="106"/>
                  </a:lnTo>
                  <a:lnTo>
                    <a:pt x="301" y="112"/>
                  </a:lnTo>
                  <a:lnTo>
                    <a:pt x="305" y="116"/>
                  </a:lnTo>
                  <a:lnTo>
                    <a:pt x="305" y="124"/>
                  </a:lnTo>
                  <a:lnTo>
                    <a:pt x="293" y="124"/>
                  </a:lnTo>
                  <a:lnTo>
                    <a:pt x="285" y="116"/>
                  </a:lnTo>
                  <a:lnTo>
                    <a:pt x="275" y="126"/>
                  </a:lnTo>
                  <a:lnTo>
                    <a:pt x="283" y="136"/>
                  </a:lnTo>
                  <a:lnTo>
                    <a:pt x="283" y="146"/>
                  </a:lnTo>
                  <a:lnTo>
                    <a:pt x="285" y="152"/>
                  </a:lnTo>
                  <a:lnTo>
                    <a:pt x="279" y="154"/>
                  </a:lnTo>
                  <a:lnTo>
                    <a:pt x="267" y="138"/>
                  </a:lnTo>
                  <a:lnTo>
                    <a:pt x="249" y="148"/>
                  </a:lnTo>
                  <a:lnTo>
                    <a:pt x="237" y="142"/>
                  </a:lnTo>
                  <a:lnTo>
                    <a:pt x="235" y="130"/>
                  </a:lnTo>
                  <a:lnTo>
                    <a:pt x="224" y="130"/>
                  </a:lnTo>
                  <a:lnTo>
                    <a:pt x="222" y="154"/>
                  </a:lnTo>
                  <a:lnTo>
                    <a:pt x="206" y="170"/>
                  </a:lnTo>
                  <a:lnTo>
                    <a:pt x="206" y="180"/>
                  </a:lnTo>
                  <a:lnTo>
                    <a:pt x="210" y="192"/>
                  </a:lnTo>
                  <a:lnTo>
                    <a:pt x="200" y="194"/>
                  </a:lnTo>
                  <a:lnTo>
                    <a:pt x="198" y="182"/>
                  </a:lnTo>
                  <a:lnTo>
                    <a:pt x="192" y="176"/>
                  </a:lnTo>
                  <a:lnTo>
                    <a:pt x="196" y="168"/>
                  </a:lnTo>
                  <a:lnTo>
                    <a:pt x="182" y="166"/>
                  </a:lnTo>
                  <a:lnTo>
                    <a:pt x="168" y="154"/>
                  </a:lnTo>
                  <a:lnTo>
                    <a:pt x="168" y="132"/>
                  </a:lnTo>
                  <a:lnTo>
                    <a:pt x="160" y="132"/>
                  </a:lnTo>
                  <a:lnTo>
                    <a:pt x="150" y="146"/>
                  </a:lnTo>
                  <a:lnTo>
                    <a:pt x="144" y="148"/>
                  </a:lnTo>
                  <a:lnTo>
                    <a:pt x="146" y="158"/>
                  </a:lnTo>
                  <a:lnTo>
                    <a:pt x="136" y="176"/>
                  </a:lnTo>
                  <a:lnTo>
                    <a:pt x="126" y="182"/>
                  </a:lnTo>
                  <a:lnTo>
                    <a:pt x="112" y="176"/>
                  </a:lnTo>
                  <a:lnTo>
                    <a:pt x="96" y="182"/>
                  </a:lnTo>
                  <a:lnTo>
                    <a:pt x="76" y="186"/>
                  </a:lnTo>
                  <a:lnTo>
                    <a:pt x="70" y="182"/>
                  </a:lnTo>
                  <a:lnTo>
                    <a:pt x="66" y="168"/>
                  </a:lnTo>
                  <a:lnTo>
                    <a:pt x="56" y="160"/>
                  </a:lnTo>
                  <a:lnTo>
                    <a:pt x="58" y="142"/>
                  </a:lnTo>
                  <a:lnTo>
                    <a:pt x="46" y="134"/>
                  </a:lnTo>
                  <a:lnTo>
                    <a:pt x="34" y="132"/>
                  </a:lnTo>
                  <a:lnTo>
                    <a:pt x="24" y="138"/>
                  </a:lnTo>
                  <a:lnTo>
                    <a:pt x="22" y="146"/>
                  </a:lnTo>
                  <a:lnTo>
                    <a:pt x="8" y="156"/>
                  </a:lnTo>
                  <a:lnTo>
                    <a:pt x="0" y="154"/>
                  </a:lnTo>
                  <a:lnTo>
                    <a:pt x="0" y="148"/>
                  </a:lnTo>
                  <a:lnTo>
                    <a:pt x="8" y="144"/>
                  </a:lnTo>
                  <a:lnTo>
                    <a:pt x="14" y="132"/>
                  </a:lnTo>
                  <a:lnTo>
                    <a:pt x="8" y="124"/>
                  </a:lnTo>
                  <a:lnTo>
                    <a:pt x="14" y="112"/>
                  </a:lnTo>
                  <a:lnTo>
                    <a:pt x="34" y="98"/>
                  </a:lnTo>
                  <a:lnTo>
                    <a:pt x="38" y="80"/>
                  </a:lnTo>
                  <a:lnTo>
                    <a:pt x="54" y="70"/>
                  </a:lnTo>
                  <a:lnTo>
                    <a:pt x="58" y="52"/>
                  </a:lnTo>
                  <a:lnTo>
                    <a:pt x="72" y="44"/>
                  </a:lnTo>
                  <a:lnTo>
                    <a:pt x="74" y="30"/>
                  </a:lnTo>
                  <a:lnTo>
                    <a:pt x="84" y="28"/>
                  </a:lnTo>
                  <a:lnTo>
                    <a:pt x="86" y="34"/>
                  </a:lnTo>
                  <a:lnTo>
                    <a:pt x="100" y="34"/>
                  </a:lnTo>
                  <a:lnTo>
                    <a:pt x="108" y="22"/>
                  </a:lnTo>
                  <a:lnTo>
                    <a:pt x="112" y="16"/>
                  </a:lnTo>
                  <a:lnTo>
                    <a:pt x="122" y="26"/>
                  </a:lnTo>
                  <a:lnTo>
                    <a:pt x="130" y="16"/>
                  </a:lnTo>
                  <a:lnTo>
                    <a:pt x="144" y="26"/>
                  </a:lnTo>
                  <a:lnTo>
                    <a:pt x="158" y="16"/>
                  </a:lnTo>
                  <a:lnTo>
                    <a:pt x="168" y="24"/>
                  </a:lnTo>
                  <a:lnTo>
                    <a:pt x="178" y="20"/>
                  </a:lnTo>
                  <a:lnTo>
                    <a:pt x="168" y="8"/>
                  </a:lnTo>
                  <a:lnTo>
                    <a:pt x="180" y="0"/>
                  </a:lnTo>
                  <a:lnTo>
                    <a:pt x="192" y="8"/>
                  </a:lnTo>
                  <a:lnTo>
                    <a:pt x="200" y="16"/>
                  </a:lnTo>
                  <a:lnTo>
                    <a:pt x="214" y="10"/>
                  </a:lnTo>
                  <a:lnTo>
                    <a:pt x="226" y="18"/>
                  </a:lnTo>
                  <a:lnTo>
                    <a:pt x="237" y="28"/>
                  </a:lnTo>
                  <a:lnTo>
                    <a:pt x="251" y="34"/>
                  </a:lnTo>
                  <a:lnTo>
                    <a:pt x="249" y="40"/>
                  </a:lnTo>
                  <a:lnTo>
                    <a:pt x="245" y="50"/>
                  </a:lnTo>
                  <a:lnTo>
                    <a:pt x="241" y="54"/>
                  </a:lnTo>
                  <a:lnTo>
                    <a:pt x="241" y="72"/>
                  </a:lnTo>
                  <a:lnTo>
                    <a:pt x="251" y="74"/>
                  </a:lnTo>
                  <a:lnTo>
                    <a:pt x="265" y="80"/>
                  </a:lnTo>
                  <a:close/>
                </a:path>
              </a:pathLst>
            </a:custGeom>
            <a:solidFill>
              <a:srgbClr val="7030A0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Freeform 63"/>
            <p:cNvSpPr>
              <a:spLocks/>
            </p:cNvSpPr>
            <p:nvPr/>
          </p:nvSpPr>
          <p:spPr bwMode="gray">
            <a:xfrm>
              <a:off x="3611839" y="5020505"/>
              <a:ext cx="17395" cy="10703"/>
            </a:xfrm>
            <a:custGeom>
              <a:avLst/>
              <a:gdLst>
                <a:gd name="T0" fmla="*/ 4 w 16"/>
                <a:gd name="T1" fmla="*/ 2 h 10"/>
                <a:gd name="T2" fmla="*/ 12 w 16"/>
                <a:gd name="T3" fmla="*/ 0 h 10"/>
                <a:gd name="T4" fmla="*/ 16 w 16"/>
                <a:gd name="T5" fmla="*/ 2 h 10"/>
                <a:gd name="T6" fmla="*/ 14 w 16"/>
                <a:gd name="T7" fmla="*/ 6 h 10"/>
                <a:gd name="T8" fmla="*/ 10 w 16"/>
                <a:gd name="T9" fmla="*/ 10 h 10"/>
                <a:gd name="T10" fmla="*/ 6 w 16"/>
                <a:gd name="T11" fmla="*/ 10 h 10"/>
                <a:gd name="T12" fmla="*/ 0 w 16"/>
                <a:gd name="T13" fmla="*/ 6 h 10"/>
                <a:gd name="T14" fmla="*/ 2 w 16"/>
                <a:gd name="T15" fmla="*/ 4 h 10"/>
                <a:gd name="T16" fmla="*/ 4 w 16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4" y="2"/>
                  </a:moveTo>
                  <a:lnTo>
                    <a:pt x="12" y="0"/>
                  </a:lnTo>
                  <a:lnTo>
                    <a:pt x="16" y="2"/>
                  </a:lnTo>
                  <a:lnTo>
                    <a:pt x="14" y="6"/>
                  </a:lnTo>
                  <a:lnTo>
                    <a:pt x="10" y="10"/>
                  </a:lnTo>
                  <a:lnTo>
                    <a:pt x="6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9" name="Freeform 64"/>
            <p:cNvSpPr>
              <a:spLocks/>
            </p:cNvSpPr>
            <p:nvPr/>
          </p:nvSpPr>
          <p:spPr bwMode="gray">
            <a:xfrm>
              <a:off x="1408158" y="4109289"/>
              <a:ext cx="25423" cy="18730"/>
            </a:xfrm>
            <a:custGeom>
              <a:avLst/>
              <a:gdLst>
                <a:gd name="T0" fmla="*/ 0 w 24"/>
                <a:gd name="T1" fmla="*/ 8 h 18"/>
                <a:gd name="T2" fmla="*/ 6 w 24"/>
                <a:gd name="T3" fmla="*/ 4 h 18"/>
                <a:gd name="T4" fmla="*/ 10 w 24"/>
                <a:gd name="T5" fmla="*/ 0 h 18"/>
                <a:gd name="T6" fmla="*/ 16 w 24"/>
                <a:gd name="T7" fmla="*/ 2 h 18"/>
                <a:gd name="T8" fmla="*/ 22 w 24"/>
                <a:gd name="T9" fmla="*/ 6 h 18"/>
                <a:gd name="T10" fmla="*/ 24 w 24"/>
                <a:gd name="T11" fmla="*/ 10 h 18"/>
                <a:gd name="T12" fmla="*/ 18 w 24"/>
                <a:gd name="T13" fmla="*/ 14 h 18"/>
                <a:gd name="T14" fmla="*/ 14 w 24"/>
                <a:gd name="T15" fmla="*/ 18 h 18"/>
                <a:gd name="T16" fmla="*/ 6 w 24"/>
                <a:gd name="T17" fmla="*/ 18 h 18"/>
                <a:gd name="T18" fmla="*/ 0 w 24"/>
                <a:gd name="T19" fmla="*/ 12 h 18"/>
                <a:gd name="T20" fmla="*/ 0 w 24"/>
                <a:gd name="T2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8">
                  <a:moveTo>
                    <a:pt x="0" y="8"/>
                  </a:moveTo>
                  <a:lnTo>
                    <a:pt x="6" y="4"/>
                  </a:lnTo>
                  <a:lnTo>
                    <a:pt x="10" y="0"/>
                  </a:lnTo>
                  <a:lnTo>
                    <a:pt x="16" y="2"/>
                  </a:lnTo>
                  <a:lnTo>
                    <a:pt x="22" y="6"/>
                  </a:lnTo>
                  <a:lnTo>
                    <a:pt x="24" y="10"/>
                  </a:lnTo>
                  <a:lnTo>
                    <a:pt x="18" y="14"/>
                  </a:lnTo>
                  <a:lnTo>
                    <a:pt x="14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Freeform 65"/>
            <p:cNvSpPr>
              <a:spLocks/>
            </p:cNvSpPr>
            <p:nvPr/>
          </p:nvSpPr>
          <p:spPr bwMode="gray">
            <a:xfrm>
              <a:off x="1975410" y="4866497"/>
              <a:ext cx="16057" cy="12040"/>
            </a:xfrm>
            <a:custGeom>
              <a:avLst/>
              <a:gdLst>
                <a:gd name="T0" fmla="*/ 12 w 16"/>
                <a:gd name="T1" fmla="*/ 0 h 12"/>
                <a:gd name="T2" fmla="*/ 16 w 16"/>
                <a:gd name="T3" fmla="*/ 4 h 12"/>
                <a:gd name="T4" fmla="*/ 14 w 16"/>
                <a:gd name="T5" fmla="*/ 4 h 12"/>
                <a:gd name="T6" fmla="*/ 10 w 16"/>
                <a:gd name="T7" fmla="*/ 8 h 12"/>
                <a:gd name="T8" fmla="*/ 8 w 16"/>
                <a:gd name="T9" fmla="*/ 8 h 12"/>
                <a:gd name="T10" fmla="*/ 4 w 16"/>
                <a:gd name="T11" fmla="*/ 12 h 12"/>
                <a:gd name="T12" fmla="*/ 2 w 16"/>
                <a:gd name="T13" fmla="*/ 12 h 12"/>
                <a:gd name="T14" fmla="*/ 0 w 16"/>
                <a:gd name="T15" fmla="*/ 10 h 12"/>
                <a:gd name="T16" fmla="*/ 0 w 16"/>
                <a:gd name="T17" fmla="*/ 6 h 12"/>
                <a:gd name="T18" fmla="*/ 2 w 16"/>
                <a:gd name="T19" fmla="*/ 2 h 12"/>
                <a:gd name="T20" fmla="*/ 4 w 16"/>
                <a:gd name="T21" fmla="*/ 0 h 12"/>
                <a:gd name="T22" fmla="*/ 8 w 16"/>
                <a:gd name="T23" fmla="*/ 0 h 12"/>
                <a:gd name="T24" fmla="*/ 10 w 16"/>
                <a:gd name="T25" fmla="*/ 0 h 12"/>
                <a:gd name="T26" fmla="*/ 12 w 16"/>
                <a:gd name="T2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2">
                  <a:moveTo>
                    <a:pt x="12" y="0"/>
                  </a:moveTo>
                  <a:lnTo>
                    <a:pt x="16" y="4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1" name="Freeform 66"/>
            <p:cNvSpPr>
              <a:spLocks/>
            </p:cNvSpPr>
            <p:nvPr/>
          </p:nvSpPr>
          <p:spPr bwMode="gray">
            <a:xfrm>
              <a:off x="2569502" y="5665177"/>
              <a:ext cx="26760" cy="18730"/>
            </a:xfrm>
            <a:custGeom>
              <a:avLst/>
              <a:gdLst>
                <a:gd name="T0" fmla="*/ 8 w 24"/>
                <a:gd name="T1" fmla="*/ 0 h 18"/>
                <a:gd name="T2" fmla="*/ 14 w 24"/>
                <a:gd name="T3" fmla="*/ 2 h 18"/>
                <a:gd name="T4" fmla="*/ 20 w 24"/>
                <a:gd name="T5" fmla="*/ 4 h 18"/>
                <a:gd name="T6" fmla="*/ 24 w 24"/>
                <a:gd name="T7" fmla="*/ 12 h 18"/>
                <a:gd name="T8" fmla="*/ 20 w 24"/>
                <a:gd name="T9" fmla="*/ 18 h 18"/>
                <a:gd name="T10" fmla="*/ 12 w 24"/>
                <a:gd name="T11" fmla="*/ 18 h 18"/>
                <a:gd name="T12" fmla="*/ 2 w 24"/>
                <a:gd name="T13" fmla="*/ 14 h 18"/>
                <a:gd name="T14" fmla="*/ 0 w 24"/>
                <a:gd name="T15" fmla="*/ 8 h 18"/>
                <a:gd name="T16" fmla="*/ 0 w 24"/>
                <a:gd name="T17" fmla="*/ 2 h 18"/>
                <a:gd name="T18" fmla="*/ 8 w 24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8">
                  <a:moveTo>
                    <a:pt x="8" y="0"/>
                  </a:moveTo>
                  <a:lnTo>
                    <a:pt x="14" y="2"/>
                  </a:lnTo>
                  <a:lnTo>
                    <a:pt x="20" y="4"/>
                  </a:lnTo>
                  <a:lnTo>
                    <a:pt x="24" y="12"/>
                  </a:lnTo>
                  <a:lnTo>
                    <a:pt x="20" y="18"/>
                  </a:lnTo>
                  <a:lnTo>
                    <a:pt x="12" y="18"/>
                  </a:lnTo>
                  <a:lnTo>
                    <a:pt x="2" y="14"/>
                  </a:lnTo>
                  <a:lnTo>
                    <a:pt x="0" y="8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2" name="Freeform 67"/>
            <p:cNvSpPr>
              <a:spLocks/>
            </p:cNvSpPr>
            <p:nvPr/>
          </p:nvSpPr>
          <p:spPr bwMode="gray">
            <a:xfrm>
              <a:off x="2976347" y="4857291"/>
              <a:ext cx="148523" cy="147161"/>
            </a:xfrm>
            <a:custGeom>
              <a:avLst/>
              <a:gdLst>
                <a:gd name="T0" fmla="*/ 128 w 136"/>
                <a:gd name="T1" fmla="*/ 80 h 140"/>
                <a:gd name="T2" fmla="*/ 128 w 136"/>
                <a:gd name="T3" fmla="*/ 72 h 140"/>
                <a:gd name="T4" fmla="*/ 134 w 136"/>
                <a:gd name="T5" fmla="*/ 60 h 140"/>
                <a:gd name="T6" fmla="*/ 132 w 136"/>
                <a:gd name="T7" fmla="*/ 52 h 140"/>
                <a:gd name="T8" fmla="*/ 136 w 136"/>
                <a:gd name="T9" fmla="*/ 46 h 140"/>
                <a:gd name="T10" fmla="*/ 124 w 136"/>
                <a:gd name="T11" fmla="*/ 42 h 140"/>
                <a:gd name="T12" fmla="*/ 112 w 136"/>
                <a:gd name="T13" fmla="*/ 44 h 140"/>
                <a:gd name="T14" fmla="*/ 102 w 136"/>
                <a:gd name="T15" fmla="*/ 46 h 140"/>
                <a:gd name="T16" fmla="*/ 104 w 136"/>
                <a:gd name="T17" fmla="*/ 34 h 140"/>
                <a:gd name="T18" fmla="*/ 90 w 136"/>
                <a:gd name="T19" fmla="*/ 32 h 140"/>
                <a:gd name="T20" fmla="*/ 88 w 136"/>
                <a:gd name="T21" fmla="*/ 22 h 140"/>
                <a:gd name="T22" fmla="*/ 82 w 136"/>
                <a:gd name="T23" fmla="*/ 24 h 140"/>
                <a:gd name="T24" fmla="*/ 78 w 136"/>
                <a:gd name="T25" fmla="*/ 18 h 140"/>
                <a:gd name="T26" fmla="*/ 76 w 136"/>
                <a:gd name="T27" fmla="*/ 12 h 140"/>
                <a:gd name="T28" fmla="*/ 68 w 136"/>
                <a:gd name="T29" fmla="*/ 14 h 140"/>
                <a:gd name="T30" fmla="*/ 56 w 136"/>
                <a:gd name="T31" fmla="*/ 10 h 140"/>
                <a:gd name="T32" fmla="*/ 56 w 136"/>
                <a:gd name="T33" fmla="*/ 2 h 140"/>
                <a:gd name="T34" fmla="*/ 50 w 136"/>
                <a:gd name="T35" fmla="*/ 0 h 140"/>
                <a:gd name="T36" fmla="*/ 44 w 136"/>
                <a:gd name="T37" fmla="*/ 6 h 140"/>
                <a:gd name="T38" fmla="*/ 36 w 136"/>
                <a:gd name="T39" fmla="*/ 10 h 140"/>
                <a:gd name="T40" fmla="*/ 42 w 136"/>
                <a:gd name="T41" fmla="*/ 16 h 140"/>
                <a:gd name="T42" fmla="*/ 42 w 136"/>
                <a:gd name="T43" fmla="*/ 26 h 140"/>
                <a:gd name="T44" fmla="*/ 40 w 136"/>
                <a:gd name="T45" fmla="*/ 30 h 140"/>
                <a:gd name="T46" fmla="*/ 30 w 136"/>
                <a:gd name="T47" fmla="*/ 34 h 140"/>
                <a:gd name="T48" fmla="*/ 28 w 136"/>
                <a:gd name="T49" fmla="*/ 38 h 140"/>
                <a:gd name="T50" fmla="*/ 34 w 136"/>
                <a:gd name="T51" fmla="*/ 40 h 140"/>
                <a:gd name="T52" fmla="*/ 34 w 136"/>
                <a:gd name="T53" fmla="*/ 44 h 140"/>
                <a:gd name="T54" fmla="*/ 22 w 136"/>
                <a:gd name="T55" fmla="*/ 50 h 140"/>
                <a:gd name="T56" fmla="*/ 12 w 136"/>
                <a:gd name="T57" fmla="*/ 54 h 140"/>
                <a:gd name="T58" fmla="*/ 10 w 136"/>
                <a:gd name="T59" fmla="*/ 60 h 140"/>
                <a:gd name="T60" fmla="*/ 2 w 136"/>
                <a:gd name="T61" fmla="*/ 60 h 140"/>
                <a:gd name="T62" fmla="*/ 0 w 136"/>
                <a:gd name="T63" fmla="*/ 66 h 140"/>
                <a:gd name="T64" fmla="*/ 6 w 136"/>
                <a:gd name="T65" fmla="*/ 70 h 140"/>
                <a:gd name="T66" fmla="*/ 4 w 136"/>
                <a:gd name="T67" fmla="*/ 76 h 140"/>
                <a:gd name="T68" fmla="*/ 4 w 136"/>
                <a:gd name="T69" fmla="*/ 80 h 140"/>
                <a:gd name="T70" fmla="*/ 16 w 136"/>
                <a:gd name="T71" fmla="*/ 86 h 140"/>
                <a:gd name="T72" fmla="*/ 18 w 136"/>
                <a:gd name="T73" fmla="*/ 96 h 140"/>
                <a:gd name="T74" fmla="*/ 26 w 136"/>
                <a:gd name="T75" fmla="*/ 100 h 140"/>
                <a:gd name="T76" fmla="*/ 40 w 136"/>
                <a:gd name="T77" fmla="*/ 104 h 140"/>
                <a:gd name="T78" fmla="*/ 44 w 136"/>
                <a:gd name="T79" fmla="*/ 110 h 140"/>
                <a:gd name="T80" fmla="*/ 50 w 136"/>
                <a:gd name="T81" fmla="*/ 128 h 140"/>
                <a:gd name="T82" fmla="*/ 52 w 136"/>
                <a:gd name="T83" fmla="*/ 140 h 140"/>
                <a:gd name="T84" fmla="*/ 64 w 136"/>
                <a:gd name="T85" fmla="*/ 138 h 140"/>
                <a:gd name="T86" fmla="*/ 62 w 136"/>
                <a:gd name="T87" fmla="*/ 122 h 140"/>
                <a:gd name="T88" fmla="*/ 76 w 136"/>
                <a:gd name="T89" fmla="*/ 112 h 140"/>
                <a:gd name="T90" fmla="*/ 88 w 136"/>
                <a:gd name="T91" fmla="*/ 104 h 140"/>
                <a:gd name="T92" fmla="*/ 100 w 136"/>
                <a:gd name="T93" fmla="*/ 114 h 140"/>
                <a:gd name="T94" fmla="*/ 102 w 136"/>
                <a:gd name="T95" fmla="*/ 100 h 140"/>
                <a:gd name="T96" fmla="*/ 108 w 136"/>
                <a:gd name="T97" fmla="*/ 98 h 140"/>
                <a:gd name="T98" fmla="*/ 124 w 136"/>
                <a:gd name="T99" fmla="*/ 94 h 140"/>
                <a:gd name="T100" fmla="*/ 128 w 136"/>
                <a:gd name="T101" fmla="*/ 8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6" h="140">
                  <a:moveTo>
                    <a:pt x="128" y="80"/>
                  </a:moveTo>
                  <a:lnTo>
                    <a:pt x="128" y="72"/>
                  </a:lnTo>
                  <a:lnTo>
                    <a:pt x="134" y="60"/>
                  </a:lnTo>
                  <a:lnTo>
                    <a:pt x="132" y="52"/>
                  </a:lnTo>
                  <a:lnTo>
                    <a:pt x="136" y="46"/>
                  </a:lnTo>
                  <a:lnTo>
                    <a:pt x="124" y="42"/>
                  </a:lnTo>
                  <a:lnTo>
                    <a:pt x="112" y="44"/>
                  </a:lnTo>
                  <a:lnTo>
                    <a:pt x="102" y="46"/>
                  </a:lnTo>
                  <a:lnTo>
                    <a:pt x="104" y="34"/>
                  </a:lnTo>
                  <a:lnTo>
                    <a:pt x="90" y="32"/>
                  </a:lnTo>
                  <a:lnTo>
                    <a:pt x="88" y="22"/>
                  </a:lnTo>
                  <a:lnTo>
                    <a:pt x="82" y="24"/>
                  </a:lnTo>
                  <a:lnTo>
                    <a:pt x="78" y="18"/>
                  </a:lnTo>
                  <a:lnTo>
                    <a:pt x="76" y="12"/>
                  </a:lnTo>
                  <a:lnTo>
                    <a:pt x="68" y="14"/>
                  </a:lnTo>
                  <a:lnTo>
                    <a:pt x="56" y="10"/>
                  </a:lnTo>
                  <a:lnTo>
                    <a:pt x="56" y="2"/>
                  </a:lnTo>
                  <a:lnTo>
                    <a:pt x="50" y="0"/>
                  </a:lnTo>
                  <a:lnTo>
                    <a:pt x="44" y="6"/>
                  </a:lnTo>
                  <a:lnTo>
                    <a:pt x="36" y="10"/>
                  </a:lnTo>
                  <a:lnTo>
                    <a:pt x="42" y="16"/>
                  </a:lnTo>
                  <a:lnTo>
                    <a:pt x="42" y="26"/>
                  </a:lnTo>
                  <a:lnTo>
                    <a:pt x="40" y="30"/>
                  </a:lnTo>
                  <a:lnTo>
                    <a:pt x="30" y="34"/>
                  </a:lnTo>
                  <a:lnTo>
                    <a:pt x="28" y="38"/>
                  </a:lnTo>
                  <a:lnTo>
                    <a:pt x="34" y="40"/>
                  </a:lnTo>
                  <a:lnTo>
                    <a:pt x="34" y="44"/>
                  </a:lnTo>
                  <a:lnTo>
                    <a:pt x="22" y="50"/>
                  </a:lnTo>
                  <a:lnTo>
                    <a:pt x="12" y="54"/>
                  </a:lnTo>
                  <a:lnTo>
                    <a:pt x="10" y="60"/>
                  </a:lnTo>
                  <a:lnTo>
                    <a:pt x="2" y="60"/>
                  </a:lnTo>
                  <a:lnTo>
                    <a:pt x="0" y="66"/>
                  </a:lnTo>
                  <a:lnTo>
                    <a:pt x="6" y="70"/>
                  </a:lnTo>
                  <a:lnTo>
                    <a:pt x="4" y="76"/>
                  </a:lnTo>
                  <a:lnTo>
                    <a:pt x="4" y="80"/>
                  </a:lnTo>
                  <a:lnTo>
                    <a:pt x="16" y="86"/>
                  </a:lnTo>
                  <a:lnTo>
                    <a:pt x="18" y="96"/>
                  </a:lnTo>
                  <a:lnTo>
                    <a:pt x="26" y="100"/>
                  </a:lnTo>
                  <a:lnTo>
                    <a:pt x="40" y="104"/>
                  </a:lnTo>
                  <a:lnTo>
                    <a:pt x="44" y="110"/>
                  </a:lnTo>
                  <a:lnTo>
                    <a:pt x="50" y="128"/>
                  </a:lnTo>
                  <a:lnTo>
                    <a:pt x="52" y="140"/>
                  </a:lnTo>
                  <a:lnTo>
                    <a:pt x="64" y="138"/>
                  </a:lnTo>
                  <a:lnTo>
                    <a:pt x="62" y="122"/>
                  </a:lnTo>
                  <a:lnTo>
                    <a:pt x="76" y="112"/>
                  </a:lnTo>
                  <a:lnTo>
                    <a:pt x="88" y="104"/>
                  </a:lnTo>
                  <a:lnTo>
                    <a:pt x="100" y="114"/>
                  </a:lnTo>
                  <a:lnTo>
                    <a:pt x="102" y="100"/>
                  </a:lnTo>
                  <a:lnTo>
                    <a:pt x="108" y="98"/>
                  </a:lnTo>
                  <a:lnTo>
                    <a:pt x="124" y="94"/>
                  </a:lnTo>
                  <a:lnTo>
                    <a:pt x="128" y="80"/>
                  </a:lnTo>
                  <a:close/>
                </a:path>
              </a:pathLst>
            </a:custGeom>
            <a:solidFill>
              <a:srgbClr val="BFBFBF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3" name="Freeform 68"/>
            <p:cNvSpPr>
              <a:spLocks/>
            </p:cNvSpPr>
            <p:nvPr/>
          </p:nvSpPr>
          <p:spPr bwMode="gray">
            <a:xfrm>
              <a:off x="2851829" y="4855794"/>
              <a:ext cx="148523" cy="164552"/>
            </a:xfrm>
            <a:custGeom>
              <a:avLst/>
              <a:gdLst>
                <a:gd name="T0" fmla="*/ 118 w 136"/>
                <a:gd name="T1" fmla="*/ 82 h 158"/>
                <a:gd name="T2" fmla="*/ 102 w 136"/>
                <a:gd name="T3" fmla="*/ 96 h 158"/>
                <a:gd name="T4" fmla="*/ 96 w 136"/>
                <a:gd name="T5" fmla="*/ 88 h 158"/>
                <a:gd name="T6" fmla="*/ 100 w 136"/>
                <a:gd name="T7" fmla="*/ 80 h 158"/>
                <a:gd name="T8" fmla="*/ 90 w 136"/>
                <a:gd name="T9" fmla="*/ 80 h 158"/>
                <a:gd name="T10" fmla="*/ 72 w 136"/>
                <a:gd name="T11" fmla="*/ 118 h 158"/>
                <a:gd name="T12" fmla="*/ 68 w 136"/>
                <a:gd name="T13" fmla="*/ 124 h 158"/>
                <a:gd name="T14" fmla="*/ 74 w 136"/>
                <a:gd name="T15" fmla="*/ 134 h 158"/>
                <a:gd name="T16" fmla="*/ 74 w 136"/>
                <a:gd name="T17" fmla="*/ 158 h 158"/>
                <a:gd name="T18" fmla="*/ 62 w 136"/>
                <a:gd name="T19" fmla="*/ 150 h 158"/>
                <a:gd name="T20" fmla="*/ 62 w 136"/>
                <a:gd name="T21" fmla="*/ 142 h 158"/>
                <a:gd name="T22" fmla="*/ 40 w 136"/>
                <a:gd name="T23" fmla="*/ 122 h 158"/>
                <a:gd name="T24" fmla="*/ 30 w 136"/>
                <a:gd name="T25" fmla="*/ 122 h 158"/>
                <a:gd name="T26" fmla="*/ 20 w 136"/>
                <a:gd name="T27" fmla="*/ 114 h 158"/>
                <a:gd name="T28" fmla="*/ 22 w 136"/>
                <a:gd name="T29" fmla="*/ 106 h 158"/>
                <a:gd name="T30" fmla="*/ 10 w 136"/>
                <a:gd name="T31" fmla="*/ 108 h 158"/>
                <a:gd name="T32" fmla="*/ 2 w 136"/>
                <a:gd name="T33" fmla="*/ 104 h 158"/>
                <a:gd name="T34" fmla="*/ 6 w 136"/>
                <a:gd name="T35" fmla="*/ 100 h 158"/>
                <a:gd name="T36" fmla="*/ 8 w 136"/>
                <a:gd name="T37" fmla="*/ 90 h 158"/>
                <a:gd name="T38" fmla="*/ 10 w 136"/>
                <a:gd name="T39" fmla="*/ 84 h 158"/>
                <a:gd name="T40" fmla="*/ 4 w 136"/>
                <a:gd name="T41" fmla="*/ 70 h 158"/>
                <a:gd name="T42" fmla="*/ 0 w 136"/>
                <a:gd name="T43" fmla="*/ 64 h 158"/>
                <a:gd name="T44" fmla="*/ 2 w 136"/>
                <a:gd name="T45" fmla="*/ 52 h 158"/>
                <a:gd name="T46" fmla="*/ 12 w 136"/>
                <a:gd name="T47" fmla="*/ 50 h 158"/>
                <a:gd name="T48" fmla="*/ 10 w 136"/>
                <a:gd name="T49" fmla="*/ 36 h 158"/>
                <a:gd name="T50" fmla="*/ 14 w 136"/>
                <a:gd name="T51" fmla="*/ 26 h 158"/>
                <a:gd name="T52" fmla="*/ 20 w 136"/>
                <a:gd name="T53" fmla="*/ 18 h 158"/>
                <a:gd name="T54" fmla="*/ 28 w 136"/>
                <a:gd name="T55" fmla="*/ 16 h 158"/>
                <a:gd name="T56" fmla="*/ 36 w 136"/>
                <a:gd name="T57" fmla="*/ 20 h 158"/>
                <a:gd name="T58" fmla="*/ 34 w 136"/>
                <a:gd name="T59" fmla="*/ 10 h 158"/>
                <a:gd name="T60" fmla="*/ 26 w 136"/>
                <a:gd name="T61" fmla="*/ 2 h 158"/>
                <a:gd name="T62" fmla="*/ 42 w 136"/>
                <a:gd name="T63" fmla="*/ 0 h 158"/>
                <a:gd name="T64" fmla="*/ 44 w 136"/>
                <a:gd name="T65" fmla="*/ 6 h 158"/>
                <a:gd name="T66" fmla="*/ 52 w 136"/>
                <a:gd name="T67" fmla="*/ 10 h 158"/>
                <a:gd name="T68" fmla="*/ 58 w 136"/>
                <a:gd name="T69" fmla="*/ 10 h 158"/>
                <a:gd name="T70" fmla="*/ 66 w 136"/>
                <a:gd name="T71" fmla="*/ 16 h 158"/>
                <a:gd name="T72" fmla="*/ 80 w 136"/>
                <a:gd name="T73" fmla="*/ 28 h 158"/>
                <a:gd name="T74" fmla="*/ 86 w 136"/>
                <a:gd name="T75" fmla="*/ 26 h 158"/>
                <a:gd name="T76" fmla="*/ 90 w 136"/>
                <a:gd name="T77" fmla="*/ 34 h 158"/>
                <a:gd name="T78" fmla="*/ 98 w 136"/>
                <a:gd name="T79" fmla="*/ 34 h 158"/>
                <a:gd name="T80" fmla="*/ 100 w 136"/>
                <a:gd name="T81" fmla="*/ 30 h 158"/>
                <a:gd name="T82" fmla="*/ 110 w 136"/>
                <a:gd name="T83" fmla="*/ 36 h 158"/>
                <a:gd name="T84" fmla="*/ 120 w 136"/>
                <a:gd name="T85" fmla="*/ 42 h 158"/>
                <a:gd name="T86" fmla="*/ 126 w 136"/>
                <a:gd name="T87" fmla="*/ 40 h 158"/>
                <a:gd name="T88" fmla="*/ 136 w 136"/>
                <a:gd name="T89" fmla="*/ 46 h 158"/>
                <a:gd name="T90" fmla="*/ 136 w 136"/>
                <a:gd name="T91" fmla="*/ 52 h 158"/>
                <a:gd name="T92" fmla="*/ 132 w 136"/>
                <a:gd name="T93" fmla="*/ 54 h 158"/>
                <a:gd name="T94" fmla="*/ 126 w 136"/>
                <a:gd name="T95" fmla="*/ 56 h 158"/>
                <a:gd name="T96" fmla="*/ 124 w 136"/>
                <a:gd name="T97" fmla="*/ 62 h 158"/>
                <a:gd name="T98" fmla="*/ 116 w 136"/>
                <a:gd name="T99" fmla="*/ 62 h 158"/>
                <a:gd name="T100" fmla="*/ 114 w 136"/>
                <a:gd name="T101" fmla="*/ 68 h 158"/>
                <a:gd name="T102" fmla="*/ 120 w 136"/>
                <a:gd name="T103" fmla="*/ 72 h 158"/>
                <a:gd name="T104" fmla="*/ 118 w 136"/>
                <a:gd name="T105" fmla="*/ 78 h 158"/>
                <a:gd name="T106" fmla="*/ 118 w 136"/>
                <a:gd name="T107" fmla="*/ 8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6" h="158">
                  <a:moveTo>
                    <a:pt x="118" y="82"/>
                  </a:moveTo>
                  <a:lnTo>
                    <a:pt x="102" y="96"/>
                  </a:lnTo>
                  <a:lnTo>
                    <a:pt x="96" y="88"/>
                  </a:lnTo>
                  <a:lnTo>
                    <a:pt x="100" y="80"/>
                  </a:lnTo>
                  <a:lnTo>
                    <a:pt x="90" y="80"/>
                  </a:lnTo>
                  <a:lnTo>
                    <a:pt x="72" y="118"/>
                  </a:lnTo>
                  <a:lnTo>
                    <a:pt x="68" y="124"/>
                  </a:lnTo>
                  <a:lnTo>
                    <a:pt x="74" y="134"/>
                  </a:lnTo>
                  <a:lnTo>
                    <a:pt x="74" y="158"/>
                  </a:lnTo>
                  <a:lnTo>
                    <a:pt x="62" y="150"/>
                  </a:lnTo>
                  <a:lnTo>
                    <a:pt x="62" y="142"/>
                  </a:lnTo>
                  <a:lnTo>
                    <a:pt x="40" y="122"/>
                  </a:lnTo>
                  <a:lnTo>
                    <a:pt x="30" y="122"/>
                  </a:lnTo>
                  <a:lnTo>
                    <a:pt x="20" y="114"/>
                  </a:lnTo>
                  <a:lnTo>
                    <a:pt x="22" y="106"/>
                  </a:lnTo>
                  <a:lnTo>
                    <a:pt x="10" y="108"/>
                  </a:lnTo>
                  <a:lnTo>
                    <a:pt x="2" y="104"/>
                  </a:lnTo>
                  <a:lnTo>
                    <a:pt x="6" y="100"/>
                  </a:lnTo>
                  <a:lnTo>
                    <a:pt x="8" y="90"/>
                  </a:lnTo>
                  <a:lnTo>
                    <a:pt x="10" y="84"/>
                  </a:lnTo>
                  <a:lnTo>
                    <a:pt x="4" y="70"/>
                  </a:lnTo>
                  <a:lnTo>
                    <a:pt x="0" y="64"/>
                  </a:lnTo>
                  <a:lnTo>
                    <a:pt x="2" y="52"/>
                  </a:lnTo>
                  <a:lnTo>
                    <a:pt x="12" y="50"/>
                  </a:lnTo>
                  <a:lnTo>
                    <a:pt x="10" y="36"/>
                  </a:lnTo>
                  <a:lnTo>
                    <a:pt x="14" y="26"/>
                  </a:lnTo>
                  <a:lnTo>
                    <a:pt x="20" y="18"/>
                  </a:lnTo>
                  <a:lnTo>
                    <a:pt x="28" y="16"/>
                  </a:lnTo>
                  <a:lnTo>
                    <a:pt x="36" y="20"/>
                  </a:lnTo>
                  <a:lnTo>
                    <a:pt x="34" y="10"/>
                  </a:lnTo>
                  <a:lnTo>
                    <a:pt x="26" y="2"/>
                  </a:lnTo>
                  <a:lnTo>
                    <a:pt x="42" y="0"/>
                  </a:lnTo>
                  <a:lnTo>
                    <a:pt x="44" y="6"/>
                  </a:lnTo>
                  <a:lnTo>
                    <a:pt x="52" y="10"/>
                  </a:lnTo>
                  <a:lnTo>
                    <a:pt x="58" y="10"/>
                  </a:lnTo>
                  <a:lnTo>
                    <a:pt x="66" y="16"/>
                  </a:lnTo>
                  <a:lnTo>
                    <a:pt x="80" y="28"/>
                  </a:lnTo>
                  <a:lnTo>
                    <a:pt x="86" y="26"/>
                  </a:lnTo>
                  <a:lnTo>
                    <a:pt x="90" y="34"/>
                  </a:lnTo>
                  <a:lnTo>
                    <a:pt x="98" y="34"/>
                  </a:lnTo>
                  <a:lnTo>
                    <a:pt x="100" y="30"/>
                  </a:lnTo>
                  <a:lnTo>
                    <a:pt x="110" y="36"/>
                  </a:lnTo>
                  <a:lnTo>
                    <a:pt x="120" y="42"/>
                  </a:lnTo>
                  <a:lnTo>
                    <a:pt x="126" y="40"/>
                  </a:lnTo>
                  <a:lnTo>
                    <a:pt x="136" y="46"/>
                  </a:lnTo>
                  <a:lnTo>
                    <a:pt x="136" y="52"/>
                  </a:lnTo>
                  <a:lnTo>
                    <a:pt x="132" y="54"/>
                  </a:lnTo>
                  <a:lnTo>
                    <a:pt x="126" y="56"/>
                  </a:lnTo>
                  <a:lnTo>
                    <a:pt x="124" y="62"/>
                  </a:lnTo>
                  <a:lnTo>
                    <a:pt x="116" y="62"/>
                  </a:lnTo>
                  <a:lnTo>
                    <a:pt x="114" y="68"/>
                  </a:lnTo>
                  <a:lnTo>
                    <a:pt x="120" y="72"/>
                  </a:lnTo>
                  <a:lnTo>
                    <a:pt x="118" y="78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4" name="Freeform 69"/>
            <p:cNvSpPr>
              <a:spLocks/>
            </p:cNvSpPr>
            <p:nvPr/>
          </p:nvSpPr>
          <p:spPr bwMode="gray">
            <a:xfrm>
              <a:off x="2148018" y="4512132"/>
              <a:ext cx="16057" cy="25419"/>
            </a:xfrm>
            <a:custGeom>
              <a:avLst/>
              <a:gdLst>
                <a:gd name="T0" fmla="*/ 4 w 14"/>
                <a:gd name="T1" fmla="*/ 0 h 24"/>
                <a:gd name="T2" fmla="*/ 10 w 14"/>
                <a:gd name="T3" fmla="*/ 2 h 24"/>
                <a:gd name="T4" fmla="*/ 14 w 14"/>
                <a:gd name="T5" fmla="*/ 12 h 24"/>
                <a:gd name="T6" fmla="*/ 12 w 14"/>
                <a:gd name="T7" fmla="*/ 20 h 24"/>
                <a:gd name="T8" fmla="*/ 10 w 14"/>
                <a:gd name="T9" fmla="*/ 24 h 24"/>
                <a:gd name="T10" fmla="*/ 0 w 14"/>
                <a:gd name="T11" fmla="*/ 22 h 24"/>
                <a:gd name="T12" fmla="*/ 0 w 14"/>
                <a:gd name="T13" fmla="*/ 14 h 24"/>
                <a:gd name="T14" fmla="*/ 0 w 14"/>
                <a:gd name="T15" fmla="*/ 4 h 24"/>
                <a:gd name="T16" fmla="*/ 4 w 14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4">
                  <a:moveTo>
                    <a:pt x="4" y="0"/>
                  </a:moveTo>
                  <a:lnTo>
                    <a:pt x="10" y="2"/>
                  </a:lnTo>
                  <a:lnTo>
                    <a:pt x="14" y="12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5" name="Group 70"/>
            <p:cNvGrpSpPr>
              <a:grpSpLocks/>
            </p:cNvGrpSpPr>
            <p:nvPr/>
          </p:nvGrpSpPr>
          <p:grpSpPr bwMode="gray">
            <a:xfrm>
              <a:off x="3033883" y="4936223"/>
              <a:ext cx="753320" cy="717073"/>
              <a:chOff x="4222" y="3255"/>
              <a:chExt cx="755" cy="754"/>
            </a:xfrm>
            <a:solidFill>
              <a:srgbClr val="008AB3"/>
            </a:solidFill>
          </p:grpSpPr>
          <p:sp>
            <p:nvSpPr>
              <p:cNvPr id="247" name="Freeform 71"/>
              <p:cNvSpPr>
                <a:spLocks/>
              </p:cNvSpPr>
              <p:nvPr/>
            </p:nvSpPr>
            <p:spPr bwMode="gray">
              <a:xfrm>
                <a:off x="4222" y="3255"/>
                <a:ext cx="491" cy="629"/>
              </a:xfrm>
              <a:custGeom>
                <a:avLst/>
                <a:gdLst>
                  <a:gd name="T0" fmla="*/ 284 w 448"/>
                  <a:gd name="T1" fmla="*/ 50 h 574"/>
                  <a:gd name="T2" fmla="*/ 400 w 448"/>
                  <a:gd name="T3" fmla="*/ 46 h 574"/>
                  <a:gd name="T4" fmla="*/ 448 w 448"/>
                  <a:gd name="T5" fmla="*/ 26 h 574"/>
                  <a:gd name="T6" fmla="*/ 398 w 448"/>
                  <a:gd name="T7" fmla="*/ 92 h 574"/>
                  <a:gd name="T8" fmla="*/ 312 w 448"/>
                  <a:gd name="T9" fmla="*/ 108 h 574"/>
                  <a:gd name="T10" fmla="*/ 250 w 448"/>
                  <a:gd name="T11" fmla="*/ 130 h 574"/>
                  <a:gd name="T12" fmla="*/ 292 w 448"/>
                  <a:gd name="T13" fmla="*/ 168 h 574"/>
                  <a:gd name="T14" fmla="*/ 276 w 448"/>
                  <a:gd name="T15" fmla="*/ 172 h 574"/>
                  <a:gd name="T16" fmla="*/ 278 w 448"/>
                  <a:gd name="T17" fmla="*/ 190 h 574"/>
                  <a:gd name="T18" fmla="*/ 254 w 448"/>
                  <a:gd name="T19" fmla="*/ 188 h 574"/>
                  <a:gd name="T20" fmla="*/ 250 w 448"/>
                  <a:gd name="T21" fmla="*/ 210 h 574"/>
                  <a:gd name="T22" fmla="*/ 228 w 448"/>
                  <a:gd name="T23" fmla="*/ 200 h 574"/>
                  <a:gd name="T24" fmla="*/ 192 w 448"/>
                  <a:gd name="T25" fmla="*/ 156 h 574"/>
                  <a:gd name="T26" fmla="*/ 206 w 448"/>
                  <a:gd name="T27" fmla="*/ 246 h 574"/>
                  <a:gd name="T28" fmla="*/ 238 w 448"/>
                  <a:gd name="T29" fmla="*/ 296 h 574"/>
                  <a:gd name="T30" fmla="*/ 244 w 448"/>
                  <a:gd name="T31" fmla="*/ 304 h 574"/>
                  <a:gd name="T32" fmla="*/ 318 w 448"/>
                  <a:gd name="T33" fmla="*/ 332 h 574"/>
                  <a:gd name="T34" fmla="*/ 360 w 448"/>
                  <a:gd name="T35" fmla="*/ 376 h 574"/>
                  <a:gd name="T36" fmla="*/ 342 w 448"/>
                  <a:gd name="T37" fmla="*/ 384 h 574"/>
                  <a:gd name="T38" fmla="*/ 294 w 448"/>
                  <a:gd name="T39" fmla="*/ 362 h 574"/>
                  <a:gd name="T40" fmla="*/ 248 w 448"/>
                  <a:gd name="T41" fmla="*/ 328 h 574"/>
                  <a:gd name="T42" fmla="*/ 220 w 448"/>
                  <a:gd name="T43" fmla="*/ 332 h 574"/>
                  <a:gd name="T44" fmla="*/ 208 w 448"/>
                  <a:gd name="T45" fmla="*/ 334 h 574"/>
                  <a:gd name="T46" fmla="*/ 254 w 448"/>
                  <a:gd name="T47" fmla="*/ 342 h 574"/>
                  <a:gd name="T48" fmla="*/ 284 w 448"/>
                  <a:gd name="T49" fmla="*/ 362 h 574"/>
                  <a:gd name="T50" fmla="*/ 320 w 448"/>
                  <a:gd name="T51" fmla="*/ 386 h 574"/>
                  <a:gd name="T52" fmla="*/ 330 w 448"/>
                  <a:gd name="T53" fmla="*/ 430 h 574"/>
                  <a:gd name="T54" fmla="*/ 290 w 448"/>
                  <a:gd name="T55" fmla="*/ 408 h 574"/>
                  <a:gd name="T56" fmla="*/ 274 w 448"/>
                  <a:gd name="T57" fmla="*/ 406 h 574"/>
                  <a:gd name="T58" fmla="*/ 248 w 448"/>
                  <a:gd name="T59" fmla="*/ 426 h 574"/>
                  <a:gd name="T60" fmla="*/ 274 w 448"/>
                  <a:gd name="T61" fmla="*/ 452 h 574"/>
                  <a:gd name="T62" fmla="*/ 290 w 448"/>
                  <a:gd name="T63" fmla="*/ 450 h 574"/>
                  <a:gd name="T64" fmla="*/ 270 w 448"/>
                  <a:gd name="T65" fmla="*/ 476 h 574"/>
                  <a:gd name="T66" fmla="*/ 242 w 448"/>
                  <a:gd name="T67" fmla="*/ 458 h 574"/>
                  <a:gd name="T68" fmla="*/ 260 w 448"/>
                  <a:gd name="T69" fmla="*/ 504 h 574"/>
                  <a:gd name="T70" fmla="*/ 272 w 448"/>
                  <a:gd name="T71" fmla="*/ 546 h 574"/>
                  <a:gd name="T72" fmla="*/ 272 w 448"/>
                  <a:gd name="T73" fmla="*/ 558 h 574"/>
                  <a:gd name="T74" fmla="*/ 250 w 448"/>
                  <a:gd name="T75" fmla="*/ 534 h 574"/>
                  <a:gd name="T76" fmla="*/ 230 w 448"/>
                  <a:gd name="T77" fmla="*/ 566 h 574"/>
                  <a:gd name="T78" fmla="*/ 220 w 448"/>
                  <a:gd name="T79" fmla="*/ 554 h 574"/>
                  <a:gd name="T80" fmla="*/ 194 w 448"/>
                  <a:gd name="T81" fmla="*/ 528 h 574"/>
                  <a:gd name="T82" fmla="*/ 180 w 448"/>
                  <a:gd name="T83" fmla="*/ 538 h 574"/>
                  <a:gd name="T84" fmla="*/ 162 w 448"/>
                  <a:gd name="T85" fmla="*/ 542 h 574"/>
                  <a:gd name="T86" fmla="*/ 156 w 448"/>
                  <a:gd name="T87" fmla="*/ 496 h 574"/>
                  <a:gd name="T88" fmla="*/ 104 w 448"/>
                  <a:gd name="T89" fmla="*/ 452 h 574"/>
                  <a:gd name="T90" fmla="*/ 128 w 448"/>
                  <a:gd name="T91" fmla="*/ 416 h 574"/>
                  <a:gd name="T92" fmla="*/ 180 w 448"/>
                  <a:gd name="T93" fmla="*/ 404 h 574"/>
                  <a:gd name="T94" fmla="*/ 240 w 448"/>
                  <a:gd name="T95" fmla="*/ 414 h 574"/>
                  <a:gd name="T96" fmla="*/ 248 w 448"/>
                  <a:gd name="T97" fmla="*/ 388 h 574"/>
                  <a:gd name="T98" fmla="*/ 204 w 448"/>
                  <a:gd name="T99" fmla="*/ 384 h 574"/>
                  <a:gd name="T100" fmla="*/ 154 w 448"/>
                  <a:gd name="T101" fmla="*/ 386 h 574"/>
                  <a:gd name="T102" fmla="*/ 110 w 448"/>
                  <a:gd name="T103" fmla="*/ 390 h 574"/>
                  <a:gd name="T104" fmla="*/ 80 w 448"/>
                  <a:gd name="T105" fmla="*/ 378 h 574"/>
                  <a:gd name="T106" fmla="*/ 54 w 448"/>
                  <a:gd name="T107" fmla="*/ 380 h 574"/>
                  <a:gd name="T108" fmla="*/ 60 w 448"/>
                  <a:gd name="T109" fmla="*/ 346 h 574"/>
                  <a:gd name="T110" fmla="*/ 72 w 448"/>
                  <a:gd name="T111" fmla="*/ 338 h 574"/>
                  <a:gd name="T112" fmla="*/ 34 w 448"/>
                  <a:gd name="T113" fmla="*/ 326 h 574"/>
                  <a:gd name="T114" fmla="*/ 10 w 448"/>
                  <a:gd name="T115" fmla="*/ 268 h 574"/>
                  <a:gd name="T116" fmla="*/ 32 w 448"/>
                  <a:gd name="T117" fmla="*/ 216 h 574"/>
                  <a:gd name="T118" fmla="*/ 76 w 448"/>
                  <a:gd name="T119" fmla="*/ 146 h 574"/>
                  <a:gd name="T120" fmla="*/ 170 w 448"/>
                  <a:gd name="T121" fmla="*/ 104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8" h="574">
                    <a:moveTo>
                      <a:pt x="180" y="86"/>
                    </a:moveTo>
                    <a:lnTo>
                      <a:pt x="198" y="86"/>
                    </a:lnTo>
                    <a:lnTo>
                      <a:pt x="206" y="78"/>
                    </a:lnTo>
                    <a:lnTo>
                      <a:pt x="230" y="74"/>
                    </a:lnTo>
                    <a:lnTo>
                      <a:pt x="256" y="60"/>
                    </a:lnTo>
                    <a:lnTo>
                      <a:pt x="268" y="48"/>
                    </a:lnTo>
                    <a:lnTo>
                      <a:pt x="284" y="50"/>
                    </a:lnTo>
                    <a:lnTo>
                      <a:pt x="290" y="42"/>
                    </a:lnTo>
                    <a:lnTo>
                      <a:pt x="316" y="62"/>
                    </a:lnTo>
                    <a:lnTo>
                      <a:pt x="316" y="54"/>
                    </a:lnTo>
                    <a:lnTo>
                      <a:pt x="336" y="54"/>
                    </a:lnTo>
                    <a:lnTo>
                      <a:pt x="352" y="64"/>
                    </a:lnTo>
                    <a:lnTo>
                      <a:pt x="376" y="50"/>
                    </a:lnTo>
                    <a:lnTo>
                      <a:pt x="400" y="46"/>
                    </a:lnTo>
                    <a:lnTo>
                      <a:pt x="416" y="34"/>
                    </a:lnTo>
                    <a:lnTo>
                      <a:pt x="412" y="18"/>
                    </a:lnTo>
                    <a:lnTo>
                      <a:pt x="400" y="6"/>
                    </a:lnTo>
                    <a:lnTo>
                      <a:pt x="406" y="0"/>
                    </a:lnTo>
                    <a:lnTo>
                      <a:pt x="418" y="2"/>
                    </a:lnTo>
                    <a:lnTo>
                      <a:pt x="436" y="4"/>
                    </a:lnTo>
                    <a:lnTo>
                      <a:pt x="448" y="26"/>
                    </a:lnTo>
                    <a:lnTo>
                      <a:pt x="430" y="46"/>
                    </a:lnTo>
                    <a:lnTo>
                      <a:pt x="430" y="60"/>
                    </a:lnTo>
                    <a:lnTo>
                      <a:pt x="436" y="76"/>
                    </a:lnTo>
                    <a:lnTo>
                      <a:pt x="428" y="86"/>
                    </a:lnTo>
                    <a:lnTo>
                      <a:pt x="420" y="102"/>
                    </a:lnTo>
                    <a:lnTo>
                      <a:pt x="416" y="90"/>
                    </a:lnTo>
                    <a:lnTo>
                      <a:pt x="398" y="92"/>
                    </a:lnTo>
                    <a:lnTo>
                      <a:pt x="396" y="96"/>
                    </a:lnTo>
                    <a:lnTo>
                      <a:pt x="366" y="96"/>
                    </a:lnTo>
                    <a:lnTo>
                      <a:pt x="364" y="92"/>
                    </a:lnTo>
                    <a:lnTo>
                      <a:pt x="352" y="94"/>
                    </a:lnTo>
                    <a:lnTo>
                      <a:pt x="344" y="88"/>
                    </a:lnTo>
                    <a:lnTo>
                      <a:pt x="324" y="108"/>
                    </a:lnTo>
                    <a:lnTo>
                      <a:pt x="312" y="108"/>
                    </a:lnTo>
                    <a:lnTo>
                      <a:pt x="298" y="104"/>
                    </a:lnTo>
                    <a:lnTo>
                      <a:pt x="292" y="112"/>
                    </a:lnTo>
                    <a:lnTo>
                      <a:pt x="282" y="128"/>
                    </a:lnTo>
                    <a:lnTo>
                      <a:pt x="274" y="130"/>
                    </a:lnTo>
                    <a:lnTo>
                      <a:pt x="266" y="132"/>
                    </a:lnTo>
                    <a:lnTo>
                      <a:pt x="258" y="126"/>
                    </a:lnTo>
                    <a:lnTo>
                      <a:pt x="250" y="130"/>
                    </a:lnTo>
                    <a:lnTo>
                      <a:pt x="248" y="138"/>
                    </a:lnTo>
                    <a:lnTo>
                      <a:pt x="254" y="144"/>
                    </a:lnTo>
                    <a:lnTo>
                      <a:pt x="260" y="150"/>
                    </a:lnTo>
                    <a:lnTo>
                      <a:pt x="262" y="160"/>
                    </a:lnTo>
                    <a:lnTo>
                      <a:pt x="270" y="164"/>
                    </a:lnTo>
                    <a:lnTo>
                      <a:pt x="282" y="166"/>
                    </a:lnTo>
                    <a:lnTo>
                      <a:pt x="292" y="168"/>
                    </a:lnTo>
                    <a:lnTo>
                      <a:pt x="300" y="172"/>
                    </a:lnTo>
                    <a:lnTo>
                      <a:pt x="306" y="180"/>
                    </a:lnTo>
                    <a:lnTo>
                      <a:pt x="308" y="184"/>
                    </a:lnTo>
                    <a:lnTo>
                      <a:pt x="304" y="188"/>
                    </a:lnTo>
                    <a:lnTo>
                      <a:pt x="296" y="180"/>
                    </a:lnTo>
                    <a:lnTo>
                      <a:pt x="288" y="174"/>
                    </a:lnTo>
                    <a:lnTo>
                      <a:pt x="276" y="172"/>
                    </a:lnTo>
                    <a:lnTo>
                      <a:pt x="270" y="170"/>
                    </a:lnTo>
                    <a:lnTo>
                      <a:pt x="264" y="168"/>
                    </a:lnTo>
                    <a:lnTo>
                      <a:pt x="260" y="172"/>
                    </a:lnTo>
                    <a:lnTo>
                      <a:pt x="256" y="178"/>
                    </a:lnTo>
                    <a:lnTo>
                      <a:pt x="260" y="182"/>
                    </a:lnTo>
                    <a:lnTo>
                      <a:pt x="268" y="188"/>
                    </a:lnTo>
                    <a:lnTo>
                      <a:pt x="278" y="190"/>
                    </a:lnTo>
                    <a:lnTo>
                      <a:pt x="284" y="198"/>
                    </a:lnTo>
                    <a:lnTo>
                      <a:pt x="284" y="204"/>
                    </a:lnTo>
                    <a:lnTo>
                      <a:pt x="280" y="208"/>
                    </a:lnTo>
                    <a:lnTo>
                      <a:pt x="268" y="206"/>
                    </a:lnTo>
                    <a:lnTo>
                      <a:pt x="266" y="200"/>
                    </a:lnTo>
                    <a:lnTo>
                      <a:pt x="260" y="192"/>
                    </a:lnTo>
                    <a:lnTo>
                      <a:pt x="254" y="188"/>
                    </a:lnTo>
                    <a:lnTo>
                      <a:pt x="244" y="184"/>
                    </a:lnTo>
                    <a:lnTo>
                      <a:pt x="232" y="184"/>
                    </a:lnTo>
                    <a:lnTo>
                      <a:pt x="230" y="192"/>
                    </a:lnTo>
                    <a:lnTo>
                      <a:pt x="234" y="196"/>
                    </a:lnTo>
                    <a:lnTo>
                      <a:pt x="242" y="204"/>
                    </a:lnTo>
                    <a:lnTo>
                      <a:pt x="248" y="210"/>
                    </a:lnTo>
                    <a:lnTo>
                      <a:pt x="250" y="210"/>
                    </a:lnTo>
                    <a:lnTo>
                      <a:pt x="260" y="210"/>
                    </a:lnTo>
                    <a:lnTo>
                      <a:pt x="258" y="216"/>
                    </a:lnTo>
                    <a:lnTo>
                      <a:pt x="250" y="216"/>
                    </a:lnTo>
                    <a:lnTo>
                      <a:pt x="244" y="214"/>
                    </a:lnTo>
                    <a:lnTo>
                      <a:pt x="238" y="214"/>
                    </a:lnTo>
                    <a:lnTo>
                      <a:pt x="232" y="208"/>
                    </a:lnTo>
                    <a:lnTo>
                      <a:pt x="228" y="200"/>
                    </a:lnTo>
                    <a:lnTo>
                      <a:pt x="226" y="192"/>
                    </a:lnTo>
                    <a:lnTo>
                      <a:pt x="220" y="190"/>
                    </a:lnTo>
                    <a:lnTo>
                      <a:pt x="208" y="186"/>
                    </a:lnTo>
                    <a:lnTo>
                      <a:pt x="198" y="180"/>
                    </a:lnTo>
                    <a:lnTo>
                      <a:pt x="188" y="174"/>
                    </a:lnTo>
                    <a:lnTo>
                      <a:pt x="194" y="164"/>
                    </a:lnTo>
                    <a:lnTo>
                      <a:pt x="192" y="156"/>
                    </a:lnTo>
                    <a:lnTo>
                      <a:pt x="182" y="164"/>
                    </a:lnTo>
                    <a:lnTo>
                      <a:pt x="170" y="176"/>
                    </a:lnTo>
                    <a:lnTo>
                      <a:pt x="176" y="190"/>
                    </a:lnTo>
                    <a:lnTo>
                      <a:pt x="172" y="204"/>
                    </a:lnTo>
                    <a:lnTo>
                      <a:pt x="176" y="222"/>
                    </a:lnTo>
                    <a:lnTo>
                      <a:pt x="190" y="232"/>
                    </a:lnTo>
                    <a:lnTo>
                      <a:pt x="206" y="246"/>
                    </a:lnTo>
                    <a:lnTo>
                      <a:pt x="208" y="256"/>
                    </a:lnTo>
                    <a:lnTo>
                      <a:pt x="224" y="264"/>
                    </a:lnTo>
                    <a:lnTo>
                      <a:pt x="232" y="270"/>
                    </a:lnTo>
                    <a:lnTo>
                      <a:pt x="246" y="284"/>
                    </a:lnTo>
                    <a:lnTo>
                      <a:pt x="250" y="288"/>
                    </a:lnTo>
                    <a:lnTo>
                      <a:pt x="246" y="296"/>
                    </a:lnTo>
                    <a:lnTo>
                      <a:pt x="238" y="296"/>
                    </a:lnTo>
                    <a:lnTo>
                      <a:pt x="236" y="288"/>
                    </a:lnTo>
                    <a:lnTo>
                      <a:pt x="230" y="282"/>
                    </a:lnTo>
                    <a:lnTo>
                      <a:pt x="220" y="280"/>
                    </a:lnTo>
                    <a:lnTo>
                      <a:pt x="214" y="282"/>
                    </a:lnTo>
                    <a:lnTo>
                      <a:pt x="218" y="290"/>
                    </a:lnTo>
                    <a:lnTo>
                      <a:pt x="230" y="302"/>
                    </a:lnTo>
                    <a:lnTo>
                      <a:pt x="244" y="304"/>
                    </a:lnTo>
                    <a:lnTo>
                      <a:pt x="252" y="308"/>
                    </a:lnTo>
                    <a:lnTo>
                      <a:pt x="264" y="318"/>
                    </a:lnTo>
                    <a:lnTo>
                      <a:pt x="276" y="328"/>
                    </a:lnTo>
                    <a:lnTo>
                      <a:pt x="286" y="326"/>
                    </a:lnTo>
                    <a:lnTo>
                      <a:pt x="294" y="330"/>
                    </a:lnTo>
                    <a:lnTo>
                      <a:pt x="310" y="330"/>
                    </a:lnTo>
                    <a:lnTo>
                      <a:pt x="318" y="332"/>
                    </a:lnTo>
                    <a:lnTo>
                      <a:pt x="322" y="338"/>
                    </a:lnTo>
                    <a:lnTo>
                      <a:pt x="326" y="340"/>
                    </a:lnTo>
                    <a:lnTo>
                      <a:pt x="328" y="356"/>
                    </a:lnTo>
                    <a:lnTo>
                      <a:pt x="334" y="364"/>
                    </a:lnTo>
                    <a:lnTo>
                      <a:pt x="340" y="372"/>
                    </a:lnTo>
                    <a:lnTo>
                      <a:pt x="350" y="374"/>
                    </a:lnTo>
                    <a:lnTo>
                      <a:pt x="360" y="376"/>
                    </a:lnTo>
                    <a:lnTo>
                      <a:pt x="366" y="378"/>
                    </a:lnTo>
                    <a:lnTo>
                      <a:pt x="366" y="388"/>
                    </a:lnTo>
                    <a:lnTo>
                      <a:pt x="360" y="392"/>
                    </a:lnTo>
                    <a:lnTo>
                      <a:pt x="354" y="390"/>
                    </a:lnTo>
                    <a:lnTo>
                      <a:pt x="350" y="392"/>
                    </a:lnTo>
                    <a:lnTo>
                      <a:pt x="344" y="388"/>
                    </a:lnTo>
                    <a:lnTo>
                      <a:pt x="342" y="384"/>
                    </a:lnTo>
                    <a:lnTo>
                      <a:pt x="334" y="382"/>
                    </a:lnTo>
                    <a:lnTo>
                      <a:pt x="332" y="376"/>
                    </a:lnTo>
                    <a:lnTo>
                      <a:pt x="328" y="370"/>
                    </a:lnTo>
                    <a:lnTo>
                      <a:pt x="320" y="362"/>
                    </a:lnTo>
                    <a:lnTo>
                      <a:pt x="314" y="358"/>
                    </a:lnTo>
                    <a:lnTo>
                      <a:pt x="306" y="362"/>
                    </a:lnTo>
                    <a:lnTo>
                      <a:pt x="294" y="362"/>
                    </a:lnTo>
                    <a:lnTo>
                      <a:pt x="286" y="362"/>
                    </a:lnTo>
                    <a:lnTo>
                      <a:pt x="284" y="358"/>
                    </a:lnTo>
                    <a:lnTo>
                      <a:pt x="282" y="352"/>
                    </a:lnTo>
                    <a:lnTo>
                      <a:pt x="280" y="348"/>
                    </a:lnTo>
                    <a:lnTo>
                      <a:pt x="274" y="346"/>
                    </a:lnTo>
                    <a:lnTo>
                      <a:pt x="262" y="336"/>
                    </a:lnTo>
                    <a:lnTo>
                      <a:pt x="248" y="328"/>
                    </a:lnTo>
                    <a:lnTo>
                      <a:pt x="242" y="326"/>
                    </a:lnTo>
                    <a:lnTo>
                      <a:pt x="234" y="328"/>
                    </a:lnTo>
                    <a:lnTo>
                      <a:pt x="234" y="322"/>
                    </a:lnTo>
                    <a:lnTo>
                      <a:pt x="228" y="320"/>
                    </a:lnTo>
                    <a:lnTo>
                      <a:pt x="226" y="326"/>
                    </a:lnTo>
                    <a:lnTo>
                      <a:pt x="226" y="330"/>
                    </a:lnTo>
                    <a:lnTo>
                      <a:pt x="220" y="332"/>
                    </a:lnTo>
                    <a:lnTo>
                      <a:pt x="218" y="326"/>
                    </a:lnTo>
                    <a:lnTo>
                      <a:pt x="214" y="324"/>
                    </a:lnTo>
                    <a:lnTo>
                      <a:pt x="214" y="330"/>
                    </a:lnTo>
                    <a:lnTo>
                      <a:pt x="206" y="328"/>
                    </a:lnTo>
                    <a:lnTo>
                      <a:pt x="194" y="330"/>
                    </a:lnTo>
                    <a:lnTo>
                      <a:pt x="198" y="334"/>
                    </a:lnTo>
                    <a:lnTo>
                      <a:pt x="208" y="334"/>
                    </a:lnTo>
                    <a:lnTo>
                      <a:pt x="214" y="336"/>
                    </a:lnTo>
                    <a:lnTo>
                      <a:pt x="230" y="336"/>
                    </a:lnTo>
                    <a:lnTo>
                      <a:pt x="236" y="342"/>
                    </a:lnTo>
                    <a:lnTo>
                      <a:pt x="240" y="346"/>
                    </a:lnTo>
                    <a:lnTo>
                      <a:pt x="244" y="346"/>
                    </a:lnTo>
                    <a:lnTo>
                      <a:pt x="248" y="342"/>
                    </a:lnTo>
                    <a:lnTo>
                      <a:pt x="254" y="342"/>
                    </a:lnTo>
                    <a:lnTo>
                      <a:pt x="258" y="346"/>
                    </a:lnTo>
                    <a:lnTo>
                      <a:pt x="260" y="354"/>
                    </a:lnTo>
                    <a:lnTo>
                      <a:pt x="264" y="354"/>
                    </a:lnTo>
                    <a:lnTo>
                      <a:pt x="270" y="354"/>
                    </a:lnTo>
                    <a:lnTo>
                      <a:pt x="278" y="354"/>
                    </a:lnTo>
                    <a:lnTo>
                      <a:pt x="280" y="358"/>
                    </a:lnTo>
                    <a:lnTo>
                      <a:pt x="284" y="362"/>
                    </a:lnTo>
                    <a:lnTo>
                      <a:pt x="288" y="366"/>
                    </a:lnTo>
                    <a:lnTo>
                      <a:pt x="296" y="366"/>
                    </a:lnTo>
                    <a:lnTo>
                      <a:pt x="306" y="370"/>
                    </a:lnTo>
                    <a:lnTo>
                      <a:pt x="314" y="370"/>
                    </a:lnTo>
                    <a:lnTo>
                      <a:pt x="322" y="376"/>
                    </a:lnTo>
                    <a:lnTo>
                      <a:pt x="322" y="380"/>
                    </a:lnTo>
                    <a:lnTo>
                      <a:pt x="320" y="386"/>
                    </a:lnTo>
                    <a:lnTo>
                      <a:pt x="324" y="394"/>
                    </a:lnTo>
                    <a:lnTo>
                      <a:pt x="324" y="406"/>
                    </a:lnTo>
                    <a:lnTo>
                      <a:pt x="330" y="410"/>
                    </a:lnTo>
                    <a:lnTo>
                      <a:pt x="332" y="416"/>
                    </a:lnTo>
                    <a:lnTo>
                      <a:pt x="334" y="424"/>
                    </a:lnTo>
                    <a:lnTo>
                      <a:pt x="330" y="424"/>
                    </a:lnTo>
                    <a:lnTo>
                      <a:pt x="330" y="430"/>
                    </a:lnTo>
                    <a:lnTo>
                      <a:pt x="324" y="426"/>
                    </a:lnTo>
                    <a:lnTo>
                      <a:pt x="316" y="420"/>
                    </a:lnTo>
                    <a:lnTo>
                      <a:pt x="310" y="418"/>
                    </a:lnTo>
                    <a:lnTo>
                      <a:pt x="306" y="414"/>
                    </a:lnTo>
                    <a:lnTo>
                      <a:pt x="302" y="408"/>
                    </a:lnTo>
                    <a:lnTo>
                      <a:pt x="294" y="406"/>
                    </a:lnTo>
                    <a:lnTo>
                      <a:pt x="290" y="408"/>
                    </a:lnTo>
                    <a:lnTo>
                      <a:pt x="286" y="412"/>
                    </a:lnTo>
                    <a:lnTo>
                      <a:pt x="282" y="416"/>
                    </a:lnTo>
                    <a:lnTo>
                      <a:pt x="276" y="414"/>
                    </a:lnTo>
                    <a:lnTo>
                      <a:pt x="278" y="410"/>
                    </a:lnTo>
                    <a:lnTo>
                      <a:pt x="280" y="406"/>
                    </a:lnTo>
                    <a:lnTo>
                      <a:pt x="278" y="402"/>
                    </a:lnTo>
                    <a:lnTo>
                      <a:pt x="274" y="406"/>
                    </a:lnTo>
                    <a:lnTo>
                      <a:pt x="272" y="410"/>
                    </a:lnTo>
                    <a:lnTo>
                      <a:pt x="266" y="410"/>
                    </a:lnTo>
                    <a:lnTo>
                      <a:pt x="260" y="412"/>
                    </a:lnTo>
                    <a:lnTo>
                      <a:pt x="258" y="418"/>
                    </a:lnTo>
                    <a:lnTo>
                      <a:pt x="252" y="418"/>
                    </a:lnTo>
                    <a:lnTo>
                      <a:pt x="248" y="422"/>
                    </a:lnTo>
                    <a:lnTo>
                      <a:pt x="248" y="426"/>
                    </a:lnTo>
                    <a:lnTo>
                      <a:pt x="254" y="426"/>
                    </a:lnTo>
                    <a:lnTo>
                      <a:pt x="260" y="428"/>
                    </a:lnTo>
                    <a:lnTo>
                      <a:pt x="260" y="432"/>
                    </a:lnTo>
                    <a:lnTo>
                      <a:pt x="262" y="442"/>
                    </a:lnTo>
                    <a:lnTo>
                      <a:pt x="264" y="446"/>
                    </a:lnTo>
                    <a:lnTo>
                      <a:pt x="268" y="448"/>
                    </a:lnTo>
                    <a:lnTo>
                      <a:pt x="274" y="452"/>
                    </a:lnTo>
                    <a:lnTo>
                      <a:pt x="280" y="450"/>
                    </a:lnTo>
                    <a:lnTo>
                      <a:pt x="278" y="446"/>
                    </a:lnTo>
                    <a:lnTo>
                      <a:pt x="278" y="442"/>
                    </a:lnTo>
                    <a:lnTo>
                      <a:pt x="282" y="440"/>
                    </a:lnTo>
                    <a:lnTo>
                      <a:pt x="282" y="444"/>
                    </a:lnTo>
                    <a:lnTo>
                      <a:pt x="284" y="448"/>
                    </a:lnTo>
                    <a:lnTo>
                      <a:pt x="290" y="450"/>
                    </a:lnTo>
                    <a:lnTo>
                      <a:pt x="292" y="454"/>
                    </a:lnTo>
                    <a:lnTo>
                      <a:pt x="296" y="460"/>
                    </a:lnTo>
                    <a:lnTo>
                      <a:pt x="290" y="462"/>
                    </a:lnTo>
                    <a:lnTo>
                      <a:pt x="284" y="464"/>
                    </a:lnTo>
                    <a:lnTo>
                      <a:pt x="276" y="468"/>
                    </a:lnTo>
                    <a:lnTo>
                      <a:pt x="274" y="472"/>
                    </a:lnTo>
                    <a:lnTo>
                      <a:pt x="270" y="476"/>
                    </a:lnTo>
                    <a:lnTo>
                      <a:pt x="268" y="480"/>
                    </a:lnTo>
                    <a:lnTo>
                      <a:pt x="266" y="476"/>
                    </a:lnTo>
                    <a:lnTo>
                      <a:pt x="262" y="472"/>
                    </a:lnTo>
                    <a:lnTo>
                      <a:pt x="264" y="466"/>
                    </a:lnTo>
                    <a:lnTo>
                      <a:pt x="258" y="462"/>
                    </a:lnTo>
                    <a:lnTo>
                      <a:pt x="250" y="460"/>
                    </a:lnTo>
                    <a:lnTo>
                      <a:pt x="242" y="458"/>
                    </a:lnTo>
                    <a:lnTo>
                      <a:pt x="234" y="456"/>
                    </a:lnTo>
                    <a:lnTo>
                      <a:pt x="232" y="458"/>
                    </a:lnTo>
                    <a:lnTo>
                      <a:pt x="232" y="468"/>
                    </a:lnTo>
                    <a:lnTo>
                      <a:pt x="242" y="478"/>
                    </a:lnTo>
                    <a:lnTo>
                      <a:pt x="250" y="490"/>
                    </a:lnTo>
                    <a:lnTo>
                      <a:pt x="254" y="498"/>
                    </a:lnTo>
                    <a:lnTo>
                      <a:pt x="260" y="504"/>
                    </a:lnTo>
                    <a:lnTo>
                      <a:pt x="264" y="514"/>
                    </a:lnTo>
                    <a:lnTo>
                      <a:pt x="268" y="522"/>
                    </a:lnTo>
                    <a:lnTo>
                      <a:pt x="272" y="526"/>
                    </a:lnTo>
                    <a:lnTo>
                      <a:pt x="272" y="532"/>
                    </a:lnTo>
                    <a:lnTo>
                      <a:pt x="270" y="536"/>
                    </a:lnTo>
                    <a:lnTo>
                      <a:pt x="270" y="540"/>
                    </a:lnTo>
                    <a:lnTo>
                      <a:pt x="272" y="546"/>
                    </a:lnTo>
                    <a:lnTo>
                      <a:pt x="276" y="552"/>
                    </a:lnTo>
                    <a:lnTo>
                      <a:pt x="282" y="554"/>
                    </a:lnTo>
                    <a:lnTo>
                      <a:pt x="284" y="556"/>
                    </a:lnTo>
                    <a:lnTo>
                      <a:pt x="286" y="562"/>
                    </a:lnTo>
                    <a:lnTo>
                      <a:pt x="280" y="564"/>
                    </a:lnTo>
                    <a:lnTo>
                      <a:pt x="276" y="560"/>
                    </a:lnTo>
                    <a:lnTo>
                      <a:pt x="272" y="558"/>
                    </a:lnTo>
                    <a:lnTo>
                      <a:pt x="268" y="556"/>
                    </a:lnTo>
                    <a:lnTo>
                      <a:pt x="266" y="552"/>
                    </a:lnTo>
                    <a:lnTo>
                      <a:pt x="260" y="548"/>
                    </a:lnTo>
                    <a:lnTo>
                      <a:pt x="256" y="544"/>
                    </a:lnTo>
                    <a:lnTo>
                      <a:pt x="252" y="544"/>
                    </a:lnTo>
                    <a:lnTo>
                      <a:pt x="252" y="540"/>
                    </a:lnTo>
                    <a:lnTo>
                      <a:pt x="250" y="534"/>
                    </a:lnTo>
                    <a:lnTo>
                      <a:pt x="244" y="534"/>
                    </a:lnTo>
                    <a:lnTo>
                      <a:pt x="234" y="536"/>
                    </a:lnTo>
                    <a:lnTo>
                      <a:pt x="230" y="540"/>
                    </a:lnTo>
                    <a:lnTo>
                      <a:pt x="230" y="546"/>
                    </a:lnTo>
                    <a:lnTo>
                      <a:pt x="228" y="554"/>
                    </a:lnTo>
                    <a:lnTo>
                      <a:pt x="228" y="562"/>
                    </a:lnTo>
                    <a:lnTo>
                      <a:pt x="230" y="566"/>
                    </a:lnTo>
                    <a:lnTo>
                      <a:pt x="232" y="568"/>
                    </a:lnTo>
                    <a:lnTo>
                      <a:pt x="232" y="574"/>
                    </a:lnTo>
                    <a:lnTo>
                      <a:pt x="226" y="572"/>
                    </a:lnTo>
                    <a:lnTo>
                      <a:pt x="224" y="568"/>
                    </a:lnTo>
                    <a:lnTo>
                      <a:pt x="218" y="566"/>
                    </a:lnTo>
                    <a:lnTo>
                      <a:pt x="220" y="560"/>
                    </a:lnTo>
                    <a:lnTo>
                      <a:pt x="220" y="554"/>
                    </a:lnTo>
                    <a:lnTo>
                      <a:pt x="216" y="548"/>
                    </a:lnTo>
                    <a:lnTo>
                      <a:pt x="212" y="542"/>
                    </a:lnTo>
                    <a:lnTo>
                      <a:pt x="208" y="538"/>
                    </a:lnTo>
                    <a:lnTo>
                      <a:pt x="206" y="532"/>
                    </a:lnTo>
                    <a:lnTo>
                      <a:pt x="202" y="530"/>
                    </a:lnTo>
                    <a:lnTo>
                      <a:pt x="196" y="530"/>
                    </a:lnTo>
                    <a:lnTo>
                      <a:pt x="194" y="528"/>
                    </a:lnTo>
                    <a:lnTo>
                      <a:pt x="194" y="522"/>
                    </a:lnTo>
                    <a:lnTo>
                      <a:pt x="190" y="520"/>
                    </a:lnTo>
                    <a:lnTo>
                      <a:pt x="182" y="522"/>
                    </a:lnTo>
                    <a:lnTo>
                      <a:pt x="180" y="526"/>
                    </a:lnTo>
                    <a:lnTo>
                      <a:pt x="176" y="530"/>
                    </a:lnTo>
                    <a:lnTo>
                      <a:pt x="180" y="534"/>
                    </a:lnTo>
                    <a:lnTo>
                      <a:pt x="180" y="538"/>
                    </a:lnTo>
                    <a:lnTo>
                      <a:pt x="182" y="544"/>
                    </a:lnTo>
                    <a:lnTo>
                      <a:pt x="178" y="550"/>
                    </a:lnTo>
                    <a:lnTo>
                      <a:pt x="174" y="546"/>
                    </a:lnTo>
                    <a:lnTo>
                      <a:pt x="172" y="546"/>
                    </a:lnTo>
                    <a:lnTo>
                      <a:pt x="166" y="546"/>
                    </a:lnTo>
                    <a:lnTo>
                      <a:pt x="164" y="548"/>
                    </a:lnTo>
                    <a:lnTo>
                      <a:pt x="162" y="542"/>
                    </a:lnTo>
                    <a:lnTo>
                      <a:pt x="160" y="536"/>
                    </a:lnTo>
                    <a:lnTo>
                      <a:pt x="160" y="530"/>
                    </a:lnTo>
                    <a:lnTo>
                      <a:pt x="154" y="526"/>
                    </a:lnTo>
                    <a:lnTo>
                      <a:pt x="146" y="520"/>
                    </a:lnTo>
                    <a:lnTo>
                      <a:pt x="146" y="512"/>
                    </a:lnTo>
                    <a:lnTo>
                      <a:pt x="150" y="502"/>
                    </a:lnTo>
                    <a:lnTo>
                      <a:pt x="156" y="496"/>
                    </a:lnTo>
                    <a:lnTo>
                      <a:pt x="148" y="484"/>
                    </a:lnTo>
                    <a:lnTo>
                      <a:pt x="140" y="476"/>
                    </a:lnTo>
                    <a:lnTo>
                      <a:pt x="134" y="470"/>
                    </a:lnTo>
                    <a:lnTo>
                      <a:pt x="126" y="468"/>
                    </a:lnTo>
                    <a:lnTo>
                      <a:pt x="120" y="462"/>
                    </a:lnTo>
                    <a:lnTo>
                      <a:pt x="112" y="454"/>
                    </a:lnTo>
                    <a:lnTo>
                      <a:pt x="104" y="452"/>
                    </a:lnTo>
                    <a:lnTo>
                      <a:pt x="98" y="448"/>
                    </a:lnTo>
                    <a:lnTo>
                      <a:pt x="102" y="442"/>
                    </a:lnTo>
                    <a:lnTo>
                      <a:pt x="112" y="434"/>
                    </a:lnTo>
                    <a:lnTo>
                      <a:pt x="112" y="424"/>
                    </a:lnTo>
                    <a:lnTo>
                      <a:pt x="114" y="414"/>
                    </a:lnTo>
                    <a:lnTo>
                      <a:pt x="120" y="412"/>
                    </a:lnTo>
                    <a:lnTo>
                      <a:pt x="128" y="416"/>
                    </a:lnTo>
                    <a:lnTo>
                      <a:pt x="136" y="412"/>
                    </a:lnTo>
                    <a:lnTo>
                      <a:pt x="142" y="404"/>
                    </a:lnTo>
                    <a:lnTo>
                      <a:pt x="146" y="396"/>
                    </a:lnTo>
                    <a:lnTo>
                      <a:pt x="152" y="394"/>
                    </a:lnTo>
                    <a:lnTo>
                      <a:pt x="158" y="392"/>
                    </a:lnTo>
                    <a:lnTo>
                      <a:pt x="168" y="398"/>
                    </a:lnTo>
                    <a:lnTo>
                      <a:pt x="180" y="404"/>
                    </a:lnTo>
                    <a:lnTo>
                      <a:pt x="194" y="402"/>
                    </a:lnTo>
                    <a:lnTo>
                      <a:pt x="208" y="406"/>
                    </a:lnTo>
                    <a:lnTo>
                      <a:pt x="216" y="410"/>
                    </a:lnTo>
                    <a:lnTo>
                      <a:pt x="224" y="414"/>
                    </a:lnTo>
                    <a:lnTo>
                      <a:pt x="230" y="418"/>
                    </a:lnTo>
                    <a:lnTo>
                      <a:pt x="236" y="418"/>
                    </a:lnTo>
                    <a:lnTo>
                      <a:pt x="240" y="414"/>
                    </a:lnTo>
                    <a:lnTo>
                      <a:pt x="234" y="408"/>
                    </a:lnTo>
                    <a:lnTo>
                      <a:pt x="238" y="404"/>
                    </a:lnTo>
                    <a:lnTo>
                      <a:pt x="248" y="404"/>
                    </a:lnTo>
                    <a:lnTo>
                      <a:pt x="256" y="398"/>
                    </a:lnTo>
                    <a:lnTo>
                      <a:pt x="258" y="392"/>
                    </a:lnTo>
                    <a:lnTo>
                      <a:pt x="252" y="390"/>
                    </a:lnTo>
                    <a:lnTo>
                      <a:pt x="248" y="388"/>
                    </a:lnTo>
                    <a:lnTo>
                      <a:pt x="242" y="392"/>
                    </a:lnTo>
                    <a:lnTo>
                      <a:pt x="236" y="392"/>
                    </a:lnTo>
                    <a:lnTo>
                      <a:pt x="228" y="390"/>
                    </a:lnTo>
                    <a:lnTo>
                      <a:pt x="224" y="386"/>
                    </a:lnTo>
                    <a:lnTo>
                      <a:pt x="216" y="386"/>
                    </a:lnTo>
                    <a:lnTo>
                      <a:pt x="208" y="388"/>
                    </a:lnTo>
                    <a:lnTo>
                      <a:pt x="204" y="384"/>
                    </a:lnTo>
                    <a:lnTo>
                      <a:pt x="200" y="378"/>
                    </a:lnTo>
                    <a:lnTo>
                      <a:pt x="192" y="382"/>
                    </a:lnTo>
                    <a:lnTo>
                      <a:pt x="188" y="386"/>
                    </a:lnTo>
                    <a:lnTo>
                      <a:pt x="182" y="386"/>
                    </a:lnTo>
                    <a:lnTo>
                      <a:pt x="176" y="384"/>
                    </a:lnTo>
                    <a:lnTo>
                      <a:pt x="166" y="384"/>
                    </a:lnTo>
                    <a:lnTo>
                      <a:pt x="154" y="386"/>
                    </a:lnTo>
                    <a:lnTo>
                      <a:pt x="150" y="390"/>
                    </a:lnTo>
                    <a:lnTo>
                      <a:pt x="142" y="392"/>
                    </a:lnTo>
                    <a:lnTo>
                      <a:pt x="138" y="394"/>
                    </a:lnTo>
                    <a:lnTo>
                      <a:pt x="132" y="394"/>
                    </a:lnTo>
                    <a:lnTo>
                      <a:pt x="124" y="400"/>
                    </a:lnTo>
                    <a:lnTo>
                      <a:pt x="114" y="396"/>
                    </a:lnTo>
                    <a:lnTo>
                      <a:pt x="110" y="390"/>
                    </a:lnTo>
                    <a:lnTo>
                      <a:pt x="106" y="396"/>
                    </a:lnTo>
                    <a:lnTo>
                      <a:pt x="104" y="402"/>
                    </a:lnTo>
                    <a:lnTo>
                      <a:pt x="94" y="402"/>
                    </a:lnTo>
                    <a:lnTo>
                      <a:pt x="90" y="396"/>
                    </a:lnTo>
                    <a:lnTo>
                      <a:pt x="86" y="388"/>
                    </a:lnTo>
                    <a:lnTo>
                      <a:pt x="80" y="384"/>
                    </a:lnTo>
                    <a:lnTo>
                      <a:pt x="80" y="378"/>
                    </a:lnTo>
                    <a:lnTo>
                      <a:pt x="70" y="372"/>
                    </a:lnTo>
                    <a:lnTo>
                      <a:pt x="66" y="364"/>
                    </a:lnTo>
                    <a:lnTo>
                      <a:pt x="62" y="364"/>
                    </a:lnTo>
                    <a:lnTo>
                      <a:pt x="56" y="366"/>
                    </a:lnTo>
                    <a:lnTo>
                      <a:pt x="58" y="372"/>
                    </a:lnTo>
                    <a:lnTo>
                      <a:pt x="58" y="378"/>
                    </a:lnTo>
                    <a:lnTo>
                      <a:pt x="54" y="380"/>
                    </a:lnTo>
                    <a:lnTo>
                      <a:pt x="48" y="382"/>
                    </a:lnTo>
                    <a:lnTo>
                      <a:pt x="44" y="378"/>
                    </a:lnTo>
                    <a:lnTo>
                      <a:pt x="44" y="368"/>
                    </a:lnTo>
                    <a:lnTo>
                      <a:pt x="48" y="362"/>
                    </a:lnTo>
                    <a:lnTo>
                      <a:pt x="52" y="358"/>
                    </a:lnTo>
                    <a:lnTo>
                      <a:pt x="56" y="352"/>
                    </a:lnTo>
                    <a:lnTo>
                      <a:pt x="60" y="346"/>
                    </a:lnTo>
                    <a:lnTo>
                      <a:pt x="68" y="346"/>
                    </a:lnTo>
                    <a:lnTo>
                      <a:pt x="74" y="346"/>
                    </a:lnTo>
                    <a:lnTo>
                      <a:pt x="82" y="348"/>
                    </a:lnTo>
                    <a:lnTo>
                      <a:pt x="84" y="342"/>
                    </a:lnTo>
                    <a:lnTo>
                      <a:pt x="84" y="338"/>
                    </a:lnTo>
                    <a:lnTo>
                      <a:pt x="80" y="334"/>
                    </a:lnTo>
                    <a:lnTo>
                      <a:pt x="72" y="338"/>
                    </a:lnTo>
                    <a:lnTo>
                      <a:pt x="68" y="336"/>
                    </a:lnTo>
                    <a:lnTo>
                      <a:pt x="64" y="336"/>
                    </a:lnTo>
                    <a:lnTo>
                      <a:pt x="58" y="338"/>
                    </a:lnTo>
                    <a:lnTo>
                      <a:pt x="58" y="342"/>
                    </a:lnTo>
                    <a:lnTo>
                      <a:pt x="52" y="344"/>
                    </a:lnTo>
                    <a:lnTo>
                      <a:pt x="48" y="336"/>
                    </a:lnTo>
                    <a:lnTo>
                      <a:pt x="34" y="326"/>
                    </a:lnTo>
                    <a:lnTo>
                      <a:pt x="24" y="316"/>
                    </a:lnTo>
                    <a:lnTo>
                      <a:pt x="14" y="314"/>
                    </a:lnTo>
                    <a:lnTo>
                      <a:pt x="8" y="300"/>
                    </a:lnTo>
                    <a:lnTo>
                      <a:pt x="0" y="296"/>
                    </a:lnTo>
                    <a:lnTo>
                      <a:pt x="0" y="284"/>
                    </a:lnTo>
                    <a:lnTo>
                      <a:pt x="10" y="276"/>
                    </a:lnTo>
                    <a:lnTo>
                      <a:pt x="10" y="268"/>
                    </a:lnTo>
                    <a:lnTo>
                      <a:pt x="16" y="268"/>
                    </a:lnTo>
                    <a:lnTo>
                      <a:pt x="16" y="262"/>
                    </a:lnTo>
                    <a:lnTo>
                      <a:pt x="10" y="252"/>
                    </a:lnTo>
                    <a:lnTo>
                      <a:pt x="18" y="238"/>
                    </a:lnTo>
                    <a:lnTo>
                      <a:pt x="28" y="238"/>
                    </a:lnTo>
                    <a:lnTo>
                      <a:pt x="32" y="232"/>
                    </a:lnTo>
                    <a:lnTo>
                      <a:pt x="32" y="216"/>
                    </a:lnTo>
                    <a:lnTo>
                      <a:pt x="38" y="196"/>
                    </a:lnTo>
                    <a:lnTo>
                      <a:pt x="48" y="194"/>
                    </a:lnTo>
                    <a:lnTo>
                      <a:pt x="54" y="176"/>
                    </a:lnTo>
                    <a:lnTo>
                      <a:pt x="46" y="170"/>
                    </a:lnTo>
                    <a:lnTo>
                      <a:pt x="46" y="158"/>
                    </a:lnTo>
                    <a:lnTo>
                      <a:pt x="66" y="154"/>
                    </a:lnTo>
                    <a:lnTo>
                      <a:pt x="76" y="146"/>
                    </a:lnTo>
                    <a:lnTo>
                      <a:pt x="90" y="150"/>
                    </a:lnTo>
                    <a:lnTo>
                      <a:pt x="100" y="140"/>
                    </a:lnTo>
                    <a:lnTo>
                      <a:pt x="116" y="118"/>
                    </a:lnTo>
                    <a:lnTo>
                      <a:pt x="126" y="118"/>
                    </a:lnTo>
                    <a:lnTo>
                      <a:pt x="138" y="112"/>
                    </a:lnTo>
                    <a:lnTo>
                      <a:pt x="152" y="112"/>
                    </a:lnTo>
                    <a:lnTo>
                      <a:pt x="170" y="104"/>
                    </a:lnTo>
                    <a:lnTo>
                      <a:pt x="168" y="90"/>
                    </a:lnTo>
                    <a:lnTo>
                      <a:pt x="180" y="8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8" name="Freeform 72"/>
              <p:cNvSpPr>
                <a:spLocks/>
              </p:cNvSpPr>
              <p:nvPr/>
            </p:nvSpPr>
            <p:spPr bwMode="gray">
              <a:xfrm>
                <a:off x="4259" y="3687"/>
                <a:ext cx="42" cy="44"/>
              </a:xfrm>
              <a:custGeom>
                <a:avLst/>
                <a:gdLst>
                  <a:gd name="T0" fmla="*/ 26 w 38"/>
                  <a:gd name="T1" fmla="*/ 14 h 40"/>
                  <a:gd name="T2" fmla="*/ 20 w 38"/>
                  <a:gd name="T3" fmla="*/ 14 h 40"/>
                  <a:gd name="T4" fmla="*/ 20 w 38"/>
                  <a:gd name="T5" fmla="*/ 18 h 40"/>
                  <a:gd name="T6" fmla="*/ 24 w 38"/>
                  <a:gd name="T7" fmla="*/ 22 h 40"/>
                  <a:gd name="T8" fmla="*/ 30 w 38"/>
                  <a:gd name="T9" fmla="*/ 24 h 40"/>
                  <a:gd name="T10" fmla="*/ 34 w 38"/>
                  <a:gd name="T11" fmla="*/ 28 h 40"/>
                  <a:gd name="T12" fmla="*/ 38 w 38"/>
                  <a:gd name="T13" fmla="*/ 34 h 40"/>
                  <a:gd name="T14" fmla="*/ 38 w 38"/>
                  <a:gd name="T15" fmla="*/ 36 h 40"/>
                  <a:gd name="T16" fmla="*/ 36 w 38"/>
                  <a:gd name="T17" fmla="*/ 40 h 40"/>
                  <a:gd name="T18" fmla="*/ 26 w 38"/>
                  <a:gd name="T19" fmla="*/ 40 h 40"/>
                  <a:gd name="T20" fmla="*/ 16 w 38"/>
                  <a:gd name="T21" fmla="*/ 38 h 40"/>
                  <a:gd name="T22" fmla="*/ 14 w 38"/>
                  <a:gd name="T23" fmla="*/ 36 h 40"/>
                  <a:gd name="T24" fmla="*/ 12 w 38"/>
                  <a:gd name="T25" fmla="*/ 34 h 40"/>
                  <a:gd name="T26" fmla="*/ 10 w 38"/>
                  <a:gd name="T27" fmla="*/ 28 h 40"/>
                  <a:gd name="T28" fmla="*/ 8 w 38"/>
                  <a:gd name="T29" fmla="*/ 28 h 40"/>
                  <a:gd name="T30" fmla="*/ 6 w 38"/>
                  <a:gd name="T31" fmla="*/ 32 h 40"/>
                  <a:gd name="T32" fmla="*/ 2 w 38"/>
                  <a:gd name="T33" fmla="*/ 32 h 40"/>
                  <a:gd name="T34" fmla="*/ 0 w 38"/>
                  <a:gd name="T35" fmla="*/ 26 h 40"/>
                  <a:gd name="T36" fmla="*/ 0 w 38"/>
                  <a:gd name="T37" fmla="*/ 20 h 40"/>
                  <a:gd name="T38" fmla="*/ 6 w 38"/>
                  <a:gd name="T39" fmla="*/ 16 h 40"/>
                  <a:gd name="T40" fmla="*/ 14 w 38"/>
                  <a:gd name="T41" fmla="*/ 14 h 40"/>
                  <a:gd name="T42" fmla="*/ 14 w 38"/>
                  <a:gd name="T43" fmla="*/ 6 h 40"/>
                  <a:gd name="T44" fmla="*/ 20 w 38"/>
                  <a:gd name="T45" fmla="*/ 6 h 40"/>
                  <a:gd name="T46" fmla="*/ 20 w 38"/>
                  <a:gd name="T47" fmla="*/ 2 h 40"/>
                  <a:gd name="T48" fmla="*/ 24 w 38"/>
                  <a:gd name="T49" fmla="*/ 0 h 40"/>
                  <a:gd name="T50" fmla="*/ 26 w 38"/>
                  <a:gd name="T51" fmla="*/ 6 h 40"/>
                  <a:gd name="T52" fmla="*/ 30 w 38"/>
                  <a:gd name="T53" fmla="*/ 10 h 40"/>
                  <a:gd name="T54" fmla="*/ 32 w 38"/>
                  <a:gd name="T55" fmla="*/ 14 h 40"/>
                  <a:gd name="T56" fmla="*/ 30 w 38"/>
                  <a:gd name="T57" fmla="*/ 16 h 40"/>
                  <a:gd name="T58" fmla="*/ 26 w 38"/>
                  <a:gd name="T59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40">
                    <a:moveTo>
                      <a:pt x="26" y="14"/>
                    </a:moveTo>
                    <a:lnTo>
                      <a:pt x="20" y="14"/>
                    </a:lnTo>
                    <a:lnTo>
                      <a:pt x="20" y="18"/>
                    </a:lnTo>
                    <a:lnTo>
                      <a:pt x="24" y="22"/>
                    </a:lnTo>
                    <a:lnTo>
                      <a:pt x="30" y="24"/>
                    </a:lnTo>
                    <a:lnTo>
                      <a:pt x="34" y="28"/>
                    </a:lnTo>
                    <a:lnTo>
                      <a:pt x="38" y="34"/>
                    </a:lnTo>
                    <a:lnTo>
                      <a:pt x="38" y="36"/>
                    </a:lnTo>
                    <a:lnTo>
                      <a:pt x="36" y="40"/>
                    </a:lnTo>
                    <a:lnTo>
                      <a:pt x="26" y="40"/>
                    </a:lnTo>
                    <a:lnTo>
                      <a:pt x="16" y="38"/>
                    </a:lnTo>
                    <a:lnTo>
                      <a:pt x="14" y="36"/>
                    </a:lnTo>
                    <a:lnTo>
                      <a:pt x="12" y="34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6" y="32"/>
                    </a:lnTo>
                    <a:lnTo>
                      <a:pt x="2" y="32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6" y="16"/>
                    </a:lnTo>
                    <a:lnTo>
                      <a:pt x="14" y="14"/>
                    </a:lnTo>
                    <a:lnTo>
                      <a:pt x="14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4" y="0"/>
                    </a:lnTo>
                    <a:lnTo>
                      <a:pt x="26" y="6"/>
                    </a:lnTo>
                    <a:lnTo>
                      <a:pt x="30" y="10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26" y="1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9" name="Freeform 73"/>
              <p:cNvSpPr>
                <a:spLocks/>
              </p:cNvSpPr>
              <p:nvPr/>
            </p:nvSpPr>
            <p:spPr bwMode="gray">
              <a:xfrm>
                <a:off x="4288" y="3748"/>
                <a:ext cx="31" cy="24"/>
              </a:xfrm>
              <a:custGeom>
                <a:avLst/>
                <a:gdLst>
                  <a:gd name="T0" fmla="*/ 2 w 28"/>
                  <a:gd name="T1" fmla="*/ 2 h 22"/>
                  <a:gd name="T2" fmla="*/ 6 w 28"/>
                  <a:gd name="T3" fmla="*/ 0 h 22"/>
                  <a:gd name="T4" fmla="*/ 10 w 28"/>
                  <a:gd name="T5" fmla="*/ 2 h 22"/>
                  <a:gd name="T6" fmla="*/ 12 w 28"/>
                  <a:gd name="T7" fmla="*/ 4 h 22"/>
                  <a:gd name="T8" fmla="*/ 18 w 28"/>
                  <a:gd name="T9" fmla="*/ 6 h 22"/>
                  <a:gd name="T10" fmla="*/ 22 w 28"/>
                  <a:gd name="T11" fmla="*/ 6 h 22"/>
                  <a:gd name="T12" fmla="*/ 24 w 28"/>
                  <a:gd name="T13" fmla="*/ 10 h 22"/>
                  <a:gd name="T14" fmla="*/ 28 w 28"/>
                  <a:gd name="T15" fmla="*/ 14 h 22"/>
                  <a:gd name="T16" fmla="*/ 24 w 28"/>
                  <a:gd name="T17" fmla="*/ 16 h 22"/>
                  <a:gd name="T18" fmla="*/ 22 w 28"/>
                  <a:gd name="T19" fmla="*/ 20 h 22"/>
                  <a:gd name="T20" fmla="*/ 16 w 28"/>
                  <a:gd name="T21" fmla="*/ 22 h 22"/>
                  <a:gd name="T22" fmla="*/ 14 w 28"/>
                  <a:gd name="T23" fmla="*/ 20 h 22"/>
                  <a:gd name="T24" fmla="*/ 8 w 28"/>
                  <a:gd name="T25" fmla="*/ 16 h 22"/>
                  <a:gd name="T26" fmla="*/ 2 w 28"/>
                  <a:gd name="T27" fmla="*/ 12 h 22"/>
                  <a:gd name="T28" fmla="*/ 0 w 28"/>
                  <a:gd name="T29" fmla="*/ 8 h 22"/>
                  <a:gd name="T30" fmla="*/ 2 w 28"/>
                  <a:gd name="T3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22">
                    <a:moveTo>
                      <a:pt x="2" y="2"/>
                    </a:moveTo>
                    <a:lnTo>
                      <a:pt x="6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4" y="16"/>
                    </a:lnTo>
                    <a:lnTo>
                      <a:pt x="22" y="20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8" y="16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0" name="Freeform 74"/>
              <p:cNvSpPr>
                <a:spLocks/>
              </p:cNvSpPr>
              <p:nvPr/>
            </p:nvSpPr>
            <p:spPr bwMode="gray">
              <a:xfrm>
                <a:off x="4718" y="3590"/>
                <a:ext cx="30" cy="46"/>
              </a:xfrm>
              <a:custGeom>
                <a:avLst/>
                <a:gdLst>
                  <a:gd name="T0" fmla="*/ 12 w 28"/>
                  <a:gd name="T1" fmla="*/ 16 h 42"/>
                  <a:gd name="T2" fmla="*/ 6 w 28"/>
                  <a:gd name="T3" fmla="*/ 14 h 42"/>
                  <a:gd name="T4" fmla="*/ 2 w 28"/>
                  <a:gd name="T5" fmla="*/ 12 h 42"/>
                  <a:gd name="T6" fmla="*/ 0 w 28"/>
                  <a:gd name="T7" fmla="*/ 6 h 42"/>
                  <a:gd name="T8" fmla="*/ 4 w 28"/>
                  <a:gd name="T9" fmla="*/ 2 h 42"/>
                  <a:gd name="T10" fmla="*/ 8 w 28"/>
                  <a:gd name="T11" fmla="*/ 0 h 42"/>
                  <a:gd name="T12" fmla="*/ 16 w 28"/>
                  <a:gd name="T13" fmla="*/ 0 h 42"/>
                  <a:gd name="T14" fmla="*/ 24 w 28"/>
                  <a:gd name="T15" fmla="*/ 4 h 42"/>
                  <a:gd name="T16" fmla="*/ 26 w 28"/>
                  <a:gd name="T17" fmla="*/ 10 h 42"/>
                  <a:gd name="T18" fmla="*/ 26 w 28"/>
                  <a:gd name="T19" fmla="*/ 14 h 42"/>
                  <a:gd name="T20" fmla="*/ 28 w 28"/>
                  <a:gd name="T21" fmla="*/ 20 h 42"/>
                  <a:gd name="T22" fmla="*/ 28 w 28"/>
                  <a:gd name="T23" fmla="*/ 24 h 42"/>
                  <a:gd name="T24" fmla="*/ 26 w 28"/>
                  <a:gd name="T25" fmla="*/ 28 h 42"/>
                  <a:gd name="T26" fmla="*/ 24 w 28"/>
                  <a:gd name="T27" fmla="*/ 36 h 42"/>
                  <a:gd name="T28" fmla="*/ 24 w 28"/>
                  <a:gd name="T29" fmla="*/ 40 h 42"/>
                  <a:gd name="T30" fmla="*/ 18 w 28"/>
                  <a:gd name="T31" fmla="*/ 42 h 42"/>
                  <a:gd name="T32" fmla="*/ 12 w 28"/>
                  <a:gd name="T33" fmla="*/ 40 h 42"/>
                  <a:gd name="T34" fmla="*/ 8 w 28"/>
                  <a:gd name="T35" fmla="*/ 36 h 42"/>
                  <a:gd name="T36" fmla="*/ 12 w 28"/>
                  <a:gd name="T37" fmla="*/ 30 h 42"/>
                  <a:gd name="T38" fmla="*/ 14 w 28"/>
                  <a:gd name="T39" fmla="*/ 26 h 42"/>
                  <a:gd name="T40" fmla="*/ 16 w 28"/>
                  <a:gd name="T41" fmla="*/ 20 h 42"/>
                  <a:gd name="T42" fmla="*/ 12 w 28"/>
                  <a:gd name="T43" fmla="*/ 1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42">
                    <a:moveTo>
                      <a:pt x="12" y="16"/>
                    </a:moveTo>
                    <a:lnTo>
                      <a:pt x="6" y="14"/>
                    </a:lnTo>
                    <a:lnTo>
                      <a:pt x="2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24" y="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26" y="28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18" y="42"/>
                    </a:lnTo>
                    <a:lnTo>
                      <a:pt x="12" y="40"/>
                    </a:lnTo>
                    <a:lnTo>
                      <a:pt x="8" y="36"/>
                    </a:lnTo>
                    <a:lnTo>
                      <a:pt x="12" y="30"/>
                    </a:lnTo>
                    <a:lnTo>
                      <a:pt x="14" y="26"/>
                    </a:lnTo>
                    <a:lnTo>
                      <a:pt x="16" y="20"/>
                    </a:lnTo>
                    <a:lnTo>
                      <a:pt x="12" y="1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1" name="Freeform 75"/>
              <p:cNvSpPr>
                <a:spLocks/>
              </p:cNvSpPr>
              <p:nvPr/>
            </p:nvSpPr>
            <p:spPr bwMode="gray">
              <a:xfrm>
                <a:off x="4711" y="3748"/>
                <a:ext cx="20" cy="29"/>
              </a:xfrm>
              <a:custGeom>
                <a:avLst/>
                <a:gdLst>
                  <a:gd name="T0" fmla="*/ 0 w 18"/>
                  <a:gd name="T1" fmla="*/ 12 h 26"/>
                  <a:gd name="T2" fmla="*/ 6 w 18"/>
                  <a:gd name="T3" fmla="*/ 6 h 26"/>
                  <a:gd name="T4" fmla="*/ 8 w 18"/>
                  <a:gd name="T5" fmla="*/ 2 h 26"/>
                  <a:gd name="T6" fmla="*/ 12 w 18"/>
                  <a:gd name="T7" fmla="*/ 0 h 26"/>
                  <a:gd name="T8" fmla="*/ 16 w 18"/>
                  <a:gd name="T9" fmla="*/ 4 h 26"/>
                  <a:gd name="T10" fmla="*/ 18 w 18"/>
                  <a:gd name="T11" fmla="*/ 8 h 26"/>
                  <a:gd name="T12" fmla="*/ 18 w 18"/>
                  <a:gd name="T13" fmla="*/ 14 h 26"/>
                  <a:gd name="T14" fmla="*/ 18 w 18"/>
                  <a:gd name="T15" fmla="*/ 18 h 26"/>
                  <a:gd name="T16" fmla="*/ 16 w 18"/>
                  <a:gd name="T17" fmla="*/ 22 h 26"/>
                  <a:gd name="T18" fmla="*/ 12 w 18"/>
                  <a:gd name="T19" fmla="*/ 26 h 26"/>
                  <a:gd name="T20" fmla="*/ 6 w 18"/>
                  <a:gd name="T21" fmla="*/ 26 h 26"/>
                  <a:gd name="T22" fmla="*/ 2 w 18"/>
                  <a:gd name="T23" fmla="*/ 22 h 26"/>
                  <a:gd name="T24" fmla="*/ 0 w 18"/>
                  <a:gd name="T25" fmla="*/ 16 h 26"/>
                  <a:gd name="T26" fmla="*/ 0 w 18"/>
                  <a:gd name="T2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26">
                    <a:moveTo>
                      <a:pt x="0" y="12"/>
                    </a:moveTo>
                    <a:lnTo>
                      <a:pt x="6" y="6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6" y="26"/>
                    </a:lnTo>
                    <a:lnTo>
                      <a:pt x="2" y="22"/>
                    </a:lnTo>
                    <a:lnTo>
                      <a:pt x="0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2" name="Freeform 76"/>
              <p:cNvSpPr>
                <a:spLocks/>
              </p:cNvSpPr>
              <p:nvPr/>
            </p:nvSpPr>
            <p:spPr bwMode="gray">
              <a:xfrm>
                <a:off x="4667" y="3707"/>
                <a:ext cx="22" cy="13"/>
              </a:xfrm>
              <a:custGeom>
                <a:avLst/>
                <a:gdLst>
                  <a:gd name="T0" fmla="*/ 0 w 20"/>
                  <a:gd name="T1" fmla="*/ 0 h 12"/>
                  <a:gd name="T2" fmla="*/ 6 w 20"/>
                  <a:gd name="T3" fmla="*/ 0 h 12"/>
                  <a:gd name="T4" fmla="*/ 10 w 20"/>
                  <a:gd name="T5" fmla="*/ 0 h 12"/>
                  <a:gd name="T6" fmla="*/ 16 w 20"/>
                  <a:gd name="T7" fmla="*/ 0 h 12"/>
                  <a:gd name="T8" fmla="*/ 20 w 20"/>
                  <a:gd name="T9" fmla="*/ 4 h 12"/>
                  <a:gd name="T10" fmla="*/ 20 w 20"/>
                  <a:gd name="T11" fmla="*/ 10 h 12"/>
                  <a:gd name="T12" fmla="*/ 16 w 20"/>
                  <a:gd name="T13" fmla="*/ 12 h 12"/>
                  <a:gd name="T14" fmla="*/ 10 w 20"/>
                  <a:gd name="T15" fmla="*/ 12 h 12"/>
                  <a:gd name="T16" fmla="*/ 6 w 20"/>
                  <a:gd name="T17" fmla="*/ 8 h 12"/>
                  <a:gd name="T18" fmla="*/ 2 w 20"/>
                  <a:gd name="T19" fmla="*/ 6 h 12"/>
                  <a:gd name="T20" fmla="*/ 0 w 20"/>
                  <a:gd name="T21" fmla="*/ 4 h 12"/>
                  <a:gd name="T22" fmla="*/ 0 w 20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2">
                    <a:moveTo>
                      <a:pt x="0" y="0"/>
                    </a:moveTo>
                    <a:lnTo>
                      <a:pt x="6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10"/>
                    </a:lnTo>
                    <a:lnTo>
                      <a:pt x="16" y="12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3" name="Freeform 77"/>
              <p:cNvSpPr>
                <a:spLocks/>
              </p:cNvSpPr>
              <p:nvPr/>
            </p:nvSpPr>
            <p:spPr bwMode="gray">
              <a:xfrm>
                <a:off x="4691" y="3757"/>
                <a:ext cx="14" cy="20"/>
              </a:xfrm>
              <a:custGeom>
                <a:avLst/>
                <a:gdLst>
                  <a:gd name="T0" fmla="*/ 12 w 12"/>
                  <a:gd name="T1" fmla="*/ 2 h 18"/>
                  <a:gd name="T2" fmla="*/ 12 w 12"/>
                  <a:gd name="T3" fmla="*/ 10 h 18"/>
                  <a:gd name="T4" fmla="*/ 12 w 12"/>
                  <a:gd name="T5" fmla="*/ 16 h 18"/>
                  <a:gd name="T6" fmla="*/ 10 w 12"/>
                  <a:gd name="T7" fmla="*/ 18 h 18"/>
                  <a:gd name="T8" fmla="*/ 2 w 12"/>
                  <a:gd name="T9" fmla="*/ 18 h 18"/>
                  <a:gd name="T10" fmla="*/ 0 w 12"/>
                  <a:gd name="T11" fmla="*/ 14 h 18"/>
                  <a:gd name="T12" fmla="*/ 0 w 12"/>
                  <a:gd name="T13" fmla="*/ 8 h 18"/>
                  <a:gd name="T14" fmla="*/ 0 w 12"/>
                  <a:gd name="T15" fmla="*/ 6 h 18"/>
                  <a:gd name="T16" fmla="*/ 4 w 12"/>
                  <a:gd name="T17" fmla="*/ 2 h 18"/>
                  <a:gd name="T18" fmla="*/ 6 w 12"/>
                  <a:gd name="T19" fmla="*/ 0 h 18"/>
                  <a:gd name="T20" fmla="*/ 12 w 12"/>
                  <a:gd name="T21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8">
                    <a:moveTo>
                      <a:pt x="12" y="2"/>
                    </a:moveTo>
                    <a:lnTo>
                      <a:pt x="12" y="10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2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4" name="Freeform 78"/>
              <p:cNvSpPr>
                <a:spLocks/>
              </p:cNvSpPr>
              <p:nvPr/>
            </p:nvSpPr>
            <p:spPr bwMode="gray">
              <a:xfrm>
                <a:off x="4606" y="3718"/>
                <a:ext cx="11" cy="17"/>
              </a:xfrm>
              <a:custGeom>
                <a:avLst/>
                <a:gdLst>
                  <a:gd name="T0" fmla="*/ 10 w 10"/>
                  <a:gd name="T1" fmla="*/ 8 h 16"/>
                  <a:gd name="T2" fmla="*/ 6 w 10"/>
                  <a:gd name="T3" fmla="*/ 8 h 16"/>
                  <a:gd name="T4" fmla="*/ 4 w 10"/>
                  <a:gd name="T5" fmla="*/ 14 h 16"/>
                  <a:gd name="T6" fmla="*/ 0 w 10"/>
                  <a:gd name="T7" fmla="*/ 16 h 16"/>
                  <a:gd name="T8" fmla="*/ 0 w 10"/>
                  <a:gd name="T9" fmla="*/ 10 h 16"/>
                  <a:gd name="T10" fmla="*/ 2 w 10"/>
                  <a:gd name="T11" fmla="*/ 4 h 16"/>
                  <a:gd name="T12" fmla="*/ 2 w 10"/>
                  <a:gd name="T13" fmla="*/ 2 h 16"/>
                  <a:gd name="T14" fmla="*/ 4 w 10"/>
                  <a:gd name="T15" fmla="*/ 0 h 16"/>
                  <a:gd name="T16" fmla="*/ 8 w 10"/>
                  <a:gd name="T17" fmla="*/ 0 h 16"/>
                  <a:gd name="T18" fmla="*/ 10 w 10"/>
                  <a:gd name="T19" fmla="*/ 4 h 16"/>
                  <a:gd name="T20" fmla="*/ 10 w 10"/>
                  <a:gd name="T21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6">
                    <a:moveTo>
                      <a:pt x="10" y="8"/>
                    </a:moveTo>
                    <a:lnTo>
                      <a:pt x="6" y="8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4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5" name="Freeform 79"/>
              <p:cNvSpPr>
                <a:spLocks/>
              </p:cNvSpPr>
              <p:nvPr/>
            </p:nvSpPr>
            <p:spPr bwMode="gray">
              <a:xfrm>
                <a:off x="4751" y="3682"/>
                <a:ext cx="28" cy="25"/>
              </a:xfrm>
              <a:custGeom>
                <a:avLst/>
                <a:gdLst>
                  <a:gd name="T0" fmla="*/ 24 w 26"/>
                  <a:gd name="T1" fmla="*/ 0 h 22"/>
                  <a:gd name="T2" fmla="*/ 26 w 26"/>
                  <a:gd name="T3" fmla="*/ 6 h 22"/>
                  <a:gd name="T4" fmla="*/ 22 w 26"/>
                  <a:gd name="T5" fmla="*/ 10 h 22"/>
                  <a:gd name="T6" fmla="*/ 14 w 26"/>
                  <a:gd name="T7" fmla="*/ 14 h 22"/>
                  <a:gd name="T8" fmla="*/ 12 w 26"/>
                  <a:gd name="T9" fmla="*/ 18 h 22"/>
                  <a:gd name="T10" fmla="*/ 10 w 26"/>
                  <a:gd name="T11" fmla="*/ 22 h 22"/>
                  <a:gd name="T12" fmla="*/ 2 w 26"/>
                  <a:gd name="T13" fmla="*/ 22 h 22"/>
                  <a:gd name="T14" fmla="*/ 0 w 26"/>
                  <a:gd name="T15" fmla="*/ 18 h 22"/>
                  <a:gd name="T16" fmla="*/ 4 w 26"/>
                  <a:gd name="T17" fmla="*/ 12 h 22"/>
                  <a:gd name="T18" fmla="*/ 6 w 26"/>
                  <a:gd name="T19" fmla="*/ 8 h 22"/>
                  <a:gd name="T20" fmla="*/ 14 w 26"/>
                  <a:gd name="T21" fmla="*/ 6 h 22"/>
                  <a:gd name="T22" fmla="*/ 18 w 26"/>
                  <a:gd name="T23" fmla="*/ 4 h 22"/>
                  <a:gd name="T24" fmla="*/ 20 w 26"/>
                  <a:gd name="T25" fmla="*/ 0 h 22"/>
                  <a:gd name="T26" fmla="*/ 24 w 26"/>
                  <a:gd name="T2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22">
                    <a:moveTo>
                      <a:pt x="24" y="0"/>
                    </a:moveTo>
                    <a:lnTo>
                      <a:pt x="26" y="6"/>
                    </a:lnTo>
                    <a:lnTo>
                      <a:pt x="22" y="10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0" y="22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14" y="6"/>
                    </a:lnTo>
                    <a:lnTo>
                      <a:pt x="18" y="4"/>
                    </a:lnTo>
                    <a:lnTo>
                      <a:pt x="2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6" name="Freeform 80"/>
              <p:cNvSpPr>
                <a:spLocks/>
              </p:cNvSpPr>
              <p:nvPr/>
            </p:nvSpPr>
            <p:spPr bwMode="gray">
              <a:xfrm>
                <a:off x="4665" y="3419"/>
                <a:ext cx="24" cy="20"/>
              </a:xfrm>
              <a:custGeom>
                <a:avLst/>
                <a:gdLst>
                  <a:gd name="T0" fmla="*/ 22 w 22"/>
                  <a:gd name="T1" fmla="*/ 4 h 18"/>
                  <a:gd name="T2" fmla="*/ 18 w 22"/>
                  <a:gd name="T3" fmla="*/ 12 h 18"/>
                  <a:gd name="T4" fmla="*/ 12 w 22"/>
                  <a:gd name="T5" fmla="*/ 16 h 18"/>
                  <a:gd name="T6" fmla="*/ 4 w 22"/>
                  <a:gd name="T7" fmla="*/ 18 h 18"/>
                  <a:gd name="T8" fmla="*/ 0 w 22"/>
                  <a:gd name="T9" fmla="*/ 14 h 18"/>
                  <a:gd name="T10" fmla="*/ 2 w 22"/>
                  <a:gd name="T11" fmla="*/ 8 h 18"/>
                  <a:gd name="T12" fmla="*/ 8 w 22"/>
                  <a:gd name="T13" fmla="*/ 4 h 18"/>
                  <a:gd name="T14" fmla="*/ 14 w 22"/>
                  <a:gd name="T15" fmla="*/ 2 h 18"/>
                  <a:gd name="T16" fmla="*/ 18 w 22"/>
                  <a:gd name="T17" fmla="*/ 0 h 18"/>
                  <a:gd name="T18" fmla="*/ 20 w 22"/>
                  <a:gd name="T19" fmla="*/ 0 h 18"/>
                  <a:gd name="T20" fmla="*/ 22 w 22"/>
                  <a:gd name="T21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18">
                    <a:moveTo>
                      <a:pt x="22" y="4"/>
                    </a:moveTo>
                    <a:lnTo>
                      <a:pt x="18" y="12"/>
                    </a:lnTo>
                    <a:lnTo>
                      <a:pt x="12" y="16"/>
                    </a:lnTo>
                    <a:lnTo>
                      <a:pt x="4" y="18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8" y="4"/>
                    </a:lnTo>
                    <a:lnTo>
                      <a:pt x="14" y="2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7" name="Freeform 81"/>
              <p:cNvSpPr>
                <a:spLocks/>
              </p:cNvSpPr>
              <p:nvPr/>
            </p:nvSpPr>
            <p:spPr bwMode="gray">
              <a:xfrm>
                <a:off x="4935" y="3772"/>
                <a:ext cx="42" cy="70"/>
              </a:xfrm>
              <a:custGeom>
                <a:avLst/>
                <a:gdLst>
                  <a:gd name="T0" fmla="*/ 16 w 38"/>
                  <a:gd name="T1" fmla="*/ 64 h 64"/>
                  <a:gd name="T2" fmla="*/ 6 w 38"/>
                  <a:gd name="T3" fmla="*/ 62 h 64"/>
                  <a:gd name="T4" fmla="*/ 8 w 38"/>
                  <a:gd name="T5" fmla="*/ 46 h 64"/>
                  <a:gd name="T6" fmla="*/ 0 w 38"/>
                  <a:gd name="T7" fmla="*/ 40 h 64"/>
                  <a:gd name="T8" fmla="*/ 4 w 38"/>
                  <a:gd name="T9" fmla="*/ 26 h 64"/>
                  <a:gd name="T10" fmla="*/ 12 w 38"/>
                  <a:gd name="T11" fmla="*/ 16 h 64"/>
                  <a:gd name="T12" fmla="*/ 24 w 38"/>
                  <a:gd name="T13" fmla="*/ 10 h 64"/>
                  <a:gd name="T14" fmla="*/ 34 w 38"/>
                  <a:gd name="T15" fmla="*/ 0 h 64"/>
                  <a:gd name="T16" fmla="*/ 38 w 38"/>
                  <a:gd name="T17" fmla="*/ 8 h 64"/>
                  <a:gd name="T18" fmla="*/ 36 w 38"/>
                  <a:gd name="T19" fmla="*/ 20 h 64"/>
                  <a:gd name="T20" fmla="*/ 32 w 38"/>
                  <a:gd name="T21" fmla="*/ 32 h 64"/>
                  <a:gd name="T22" fmla="*/ 30 w 38"/>
                  <a:gd name="T23" fmla="*/ 40 h 64"/>
                  <a:gd name="T24" fmla="*/ 24 w 38"/>
                  <a:gd name="T25" fmla="*/ 46 h 64"/>
                  <a:gd name="T26" fmla="*/ 20 w 38"/>
                  <a:gd name="T27" fmla="*/ 52 h 64"/>
                  <a:gd name="T28" fmla="*/ 16 w 38"/>
                  <a:gd name="T2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64">
                    <a:moveTo>
                      <a:pt x="16" y="64"/>
                    </a:moveTo>
                    <a:lnTo>
                      <a:pt x="6" y="62"/>
                    </a:lnTo>
                    <a:lnTo>
                      <a:pt x="8" y="46"/>
                    </a:lnTo>
                    <a:lnTo>
                      <a:pt x="0" y="40"/>
                    </a:lnTo>
                    <a:lnTo>
                      <a:pt x="4" y="26"/>
                    </a:lnTo>
                    <a:lnTo>
                      <a:pt x="12" y="16"/>
                    </a:lnTo>
                    <a:lnTo>
                      <a:pt x="24" y="10"/>
                    </a:lnTo>
                    <a:lnTo>
                      <a:pt x="34" y="0"/>
                    </a:lnTo>
                    <a:lnTo>
                      <a:pt x="38" y="8"/>
                    </a:lnTo>
                    <a:lnTo>
                      <a:pt x="36" y="20"/>
                    </a:lnTo>
                    <a:lnTo>
                      <a:pt x="32" y="32"/>
                    </a:lnTo>
                    <a:lnTo>
                      <a:pt x="30" y="40"/>
                    </a:lnTo>
                    <a:lnTo>
                      <a:pt x="24" y="46"/>
                    </a:lnTo>
                    <a:lnTo>
                      <a:pt x="20" y="52"/>
                    </a:lnTo>
                    <a:lnTo>
                      <a:pt x="16" y="6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8" name="Freeform 82"/>
              <p:cNvSpPr>
                <a:spLocks/>
              </p:cNvSpPr>
              <p:nvPr/>
            </p:nvSpPr>
            <p:spPr bwMode="gray">
              <a:xfrm>
                <a:off x="4893" y="3867"/>
                <a:ext cx="18" cy="41"/>
              </a:xfrm>
              <a:custGeom>
                <a:avLst/>
                <a:gdLst>
                  <a:gd name="T0" fmla="*/ 8 w 16"/>
                  <a:gd name="T1" fmla="*/ 0 h 38"/>
                  <a:gd name="T2" fmla="*/ 8 w 16"/>
                  <a:gd name="T3" fmla="*/ 12 h 38"/>
                  <a:gd name="T4" fmla="*/ 12 w 16"/>
                  <a:gd name="T5" fmla="*/ 20 h 38"/>
                  <a:gd name="T6" fmla="*/ 16 w 16"/>
                  <a:gd name="T7" fmla="*/ 30 h 38"/>
                  <a:gd name="T8" fmla="*/ 10 w 16"/>
                  <a:gd name="T9" fmla="*/ 38 h 38"/>
                  <a:gd name="T10" fmla="*/ 4 w 16"/>
                  <a:gd name="T11" fmla="*/ 26 h 38"/>
                  <a:gd name="T12" fmla="*/ 0 w 16"/>
                  <a:gd name="T13" fmla="*/ 14 h 38"/>
                  <a:gd name="T14" fmla="*/ 2 w 16"/>
                  <a:gd name="T15" fmla="*/ 6 h 38"/>
                  <a:gd name="T16" fmla="*/ 8 w 16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38">
                    <a:moveTo>
                      <a:pt x="8" y="0"/>
                    </a:moveTo>
                    <a:lnTo>
                      <a:pt x="8" y="12"/>
                    </a:lnTo>
                    <a:lnTo>
                      <a:pt x="12" y="20"/>
                    </a:lnTo>
                    <a:lnTo>
                      <a:pt x="16" y="30"/>
                    </a:lnTo>
                    <a:lnTo>
                      <a:pt x="10" y="38"/>
                    </a:lnTo>
                    <a:lnTo>
                      <a:pt x="4" y="26"/>
                    </a:lnTo>
                    <a:lnTo>
                      <a:pt x="0" y="14"/>
                    </a:lnTo>
                    <a:lnTo>
                      <a:pt x="2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9" name="Freeform 83"/>
              <p:cNvSpPr>
                <a:spLocks/>
              </p:cNvSpPr>
              <p:nvPr/>
            </p:nvSpPr>
            <p:spPr bwMode="gray">
              <a:xfrm>
                <a:off x="4797" y="3656"/>
                <a:ext cx="41" cy="20"/>
              </a:xfrm>
              <a:custGeom>
                <a:avLst/>
                <a:gdLst>
                  <a:gd name="T0" fmla="*/ 4 w 38"/>
                  <a:gd name="T1" fmla="*/ 8 h 18"/>
                  <a:gd name="T2" fmla="*/ 6 w 38"/>
                  <a:gd name="T3" fmla="*/ 6 h 18"/>
                  <a:gd name="T4" fmla="*/ 10 w 38"/>
                  <a:gd name="T5" fmla="*/ 2 h 18"/>
                  <a:gd name="T6" fmla="*/ 20 w 38"/>
                  <a:gd name="T7" fmla="*/ 2 h 18"/>
                  <a:gd name="T8" fmla="*/ 28 w 38"/>
                  <a:gd name="T9" fmla="*/ 0 h 18"/>
                  <a:gd name="T10" fmla="*/ 36 w 38"/>
                  <a:gd name="T11" fmla="*/ 0 h 18"/>
                  <a:gd name="T12" fmla="*/ 38 w 38"/>
                  <a:gd name="T13" fmla="*/ 2 h 18"/>
                  <a:gd name="T14" fmla="*/ 34 w 38"/>
                  <a:gd name="T15" fmla="*/ 10 h 18"/>
                  <a:gd name="T16" fmla="*/ 32 w 38"/>
                  <a:gd name="T17" fmla="*/ 10 h 18"/>
                  <a:gd name="T18" fmla="*/ 26 w 38"/>
                  <a:gd name="T19" fmla="*/ 18 h 18"/>
                  <a:gd name="T20" fmla="*/ 20 w 38"/>
                  <a:gd name="T21" fmla="*/ 16 h 18"/>
                  <a:gd name="T22" fmla="*/ 14 w 38"/>
                  <a:gd name="T23" fmla="*/ 14 h 18"/>
                  <a:gd name="T24" fmla="*/ 10 w 38"/>
                  <a:gd name="T25" fmla="*/ 14 h 18"/>
                  <a:gd name="T26" fmla="*/ 8 w 38"/>
                  <a:gd name="T27" fmla="*/ 18 h 18"/>
                  <a:gd name="T28" fmla="*/ 0 w 38"/>
                  <a:gd name="T29" fmla="*/ 14 h 18"/>
                  <a:gd name="T30" fmla="*/ 4 w 38"/>
                  <a:gd name="T31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18">
                    <a:moveTo>
                      <a:pt x="4" y="8"/>
                    </a:moveTo>
                    <a:lnTo>
                      <a:pt x="6" y="6"/>
                    </a:lnTo>
                    <a:lnTo>
                      <a:pt x="10" y="2"/>
                    </a:lnTo>
                    <a:lnTo>
                      <a:pt x="20" y="2"/>
                    </a:lnTo>
                    <a:lnTo>
                      <a:pt x="28" y="0"/>
                    </a:lnTo>
                    <a:lnTo>
                      <a:pt x="36" y="0"/>
                    </a:lnTo>
                    <a:lnTo>
                      <a:pt x="38" y="2"/>
                    </a:lnTo>
                    <a:lnTo>
                      <a:pt x="34" y="10"/>
                    </a:lnTo>
                    <a:lnTo>
                      <a:pt x="32" y="10"/>
                    </a:lnTo>
                    <a:lnTo>
                      <a:pt x="26" y="18"/>
                    </a:lnTo>
                    <a:lnTo>
                      <a:pt x="20" y="16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8" y="18"/>
                    </a:lnTo>
                    <a:lnTo>
                      <a:pt x="0" y="1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0" name="Freeform 84"/>
              <p:cNvSpPr>
                <a:spLocks/>
              </p:cNvSpPr>
              <p:nvPr/>
            </p:nvSpPr>
            <p:spPr bwMode="gray">
              <a:xfrm>
                <a:off x="4849" y="3746"/>
                <a:ext cx="33" cy="29"/>
              </a:xfrm>
              <a:custGeom>
                <a:avLst/>
                <a:gdLst>
                  <a:gd name="T0" fmla="*/ 12 w 30"/>
                  <a:gd name="T1" fmla="*/ 10 h 26"/>
                  <a:gd name="T2" fmla="*/ 20 w 30"/>
                  <a:gd name="T3" fmla="*/ 2 h 26"/>
                  <a:gd name="T4" fmla="*/ 26 w 30"/>
                  <a:gd name="T5" fmla="*/ 0 h 26"/>
                  <a:gd name="T6" fmla="*/ 30 w 30"/>
                  <a:gd name="T7" fmla="*/ 0 h 26"/>
                  <a:gd name="T8" fmla="*/ 30 w 30"/>
                  <a:gd name="T9" fmla="*/ 6 h 26"/>
                  <a:gd name="T10" fmla="*/ 24 w 30"/>
                  <a:gd name="T11" fmla="*/ 12 h 26"/>
                  <a:gd name="T12" fmla="*/ 18 w 30"/>
                  <a:gd name="T13" fmla="*/ 16 h 26"/>
                  <a:gd name="T14" fmla="*/ 14 w 30"/>
                  <a:gd name="T15" fmla="*/ 20 h 26"/>
                  <a:gd name="T16" fmla="*/ 12 w 30"/>
                  <a:gd name="T17" fmla="*/ 22 h 26"/>
                  <a:gd name="T18" fmla="*/ 10 w 30"/>
                  <a:gd name="T19" fmla="*/ 26 h 26"/>
                  <a:gd name="T20" fmla="*/ 6 w 30"/>
                  <a:gd name="T21" fmla="*/ 26 h 26"/>
                  <a:gd name="T22" fmla="*/ 2 w 30"/>
                  <a:gd name="T23" fmla="*/ 26 h 26"/>
                  <a:gd name="T24" fmla="*/ 0 w 30"/>
                  <a:gd name="T25" fmla="*/ 22 h 26"/>
                  <a:gd name="T26" fmla="*/ 4 w 30"/>
                  <a:gd name="T27" fmla="*/ 18 h 26"/>
                  <a:gd name="T28" fmla="*/ 8 w 30"/>
                  <a:gd name="T29" fmla="*/ 14 h 26"/>
                  <a:gd name="T30" fmla="*/ 12 w 30"/>
                  <a:gd name="T3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26">
                    <a:moveTo>
                      <a:pt x="12" y="10"/>
                    </a:moveTo>
                    <a:lnTo>
                      <a:pt x="20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4" y="12"/>
                    </a:lnTo>
                    <a:lnTo>
                      <a:pt x="18" y="16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4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1" name="Freeform 85"/>
              <p:cNvSpPr>
                <a:spLocks/>
              </p:cNvSpPr>
              <p:nvPr/>
            </p:nvSpPr>
            <p:spPr bwMode="gray">
              <a:xfrm>
                <a:off x="4702" y="3503"/>
                <a:ext cx="68" cy="41"/>
              </a:xfrm>
              <a:custGeom>
                <a:avLst/>
                <a:gdLst>
                  <a:gd name="T0" fmla="*/ 16 w 62"/>
                  <a:gd name="T1" fmla="*/ 30 h 38"/>
                  <a:gd name="T2" fmla="*/ 6 w 62"/>
                  <a:gd name="T3" fmla="*/ 30 h 38"/>
                  <a:gd name="T4" fmla="*/ 0 w 62"/>
                  <a:gd name="T5" fmla="*/ 26 h 38"/>
                  <a:gd name="T6" fmla="*/ 0 w 62"/>
                  <a:gd name="T7" fmla="*/ 16 h 38"/>
                  <a:gd name="T8" fmla="*/ 8 w 62"/>
                  <a:gd name="T9" fmla="*/ 14 h 38"/>
                  <a:gd name="T10" fmla="*/ 16 w 62"/>
                  <a:gd name="T11" fmla="*/ 10 h 38"/>
                  <a:gd name="T12" fmla="*/ 20 w 62"/>
                  <a:gd name="T13" fmla="*/ 6 h 38"/>
                  <a:gd name="T14" fmla="*/ 24 w 62"/>
                  <a:gd name="T15" fmla="*/ 0 h 38"/>
                  <a:gd name="T16" fmla="*/ 30 w 62"/>
                  <a:gd name="T17" fmla="*/ 0 h 38"/>
                  <a:gd name="T18" fmla="*/ 34 w 62"/>
                  <a:gd name="T19" fmla="*/ 0 h 38"/>
                  <a:gd name="T20" fmla="*/ 42 w 62"/>
                  <a:gd name="T21" fmla="*/ 8 h 38"/>
                  <a:gd name="T22" fmla="*/ 48 w 62"/>
                  <a:gd name="T23" fmla="*/ 16 h 38"/>
                  <a:gd name="T24" fmla="*/ 56 w 62"/>
                  <a:gd name="T25" fmla="*/ 20 h 38"/>
                  <a:gd name="T26" fmla="*/ 62 w 62"/>
                  <a:gd name="T27" fmla="*/ 26 h 38"/>
                  <a:gd name="T28" fmla="*/ 58 w 62"/>
                  <a:gd name="T29" fmla="*/ 34 h 38"/>
                  <a:gd name="T30" fmla="*/ 48 w 62"/>
                  <a:gd name="T31" fmla="*/ 38 h 38"/>
                  <a:gd name="T32" fmla="*/ 42 w 62"/>
                  <a:gd name="T33" fmla="*/ 36 h 38"/>
                  <a:gd name="T34" fmla="*/ 34 w 62"/>
                  <a:gd name="T35" fmla="*/ 38 h 38"/>
                  <a:gd name="T36" fmla="*/ 28 w 62"/>
                  <a:gd name="T37" fmla="*/ 38 h 38"/>
                  <a:gd name="T38" fmla="*/ 22 w 62"/>
                  <a:gd name="T39" fmla="*/ 34 h 38"/>
                  <a:gd name="T40" fmla="*/ 26 w 62"/>
                  <a:gd name="T41" fmla="*/ 30 h 38"/>
                  <a:gd name="T42" fmla="*/ 30 w 62"/>
                  <a:gd name="T43" fmla="*/ 24 h 38"/>
                  <a:gd name="T44" fmla="*/ 32 w 62"/>
                  <a:gd name="T45" fmla="*/ 20 h 38"/>
                  <a:gd name="T46" fmla="*/ 26 w 62"/>
                  <a:gd name="T47" fmla="*/ 18 h 38"/>
                  <a:gd name="T48" fmla="*/ 22 w 62"/>
                  <a:gd name="T49" fmla="*/ 22 h 38"/>
                  <a:gd name="T50" fmla="*/ 22 w 62"/>
                  <a:gd name="T51" fmla="*/ 26 h 38"/>
                  <a:gd name="T52" fmla="*/ 20 w 62"/>
                  <a:gd name="T53" fmla="*/ 32 h 38"/>
                  <a:gd name="T54" fmla="*/ 16 w 62"/>
                  <a:gd name="T55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2" h="38">
                    <a:moveTo>
                      <a:pt x="16" y="30"/>
                    </a:moveTo>
                    <a:lnTo>
                      <a:pt x="6" y="30"/>
                    </a:lnTo>
                    <a:lnTo>
                      <a:pt x="0" y="26"/>
                    </a:lnTo>
                    <a:lnTo>
                      <a:pt x="0" y="16"/>
                    </a:lnTo>
                    <a:lnTo>
                      <a:pt x="8" y="14"/>
                    </a:lnTo>
                    <a:lnTo>
                      <a:pt x="16" y="10"/>
                    </a:lnTo>
                    <a:lnTo>
                      <a:pt x="20" y="6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6" y="20"/>
                    </a:lnTo>
                    <a:lnTo>
                      <a:pt x="62" y="26"/>
                    </a:lnTo>
                    <a:lnTo>
                      <a:pt x="58" y="34"/>
                    </a:lnTo>
                    <a:lnTo>
                      <a:pt x="48" y="38"/>
                    </a:lnTo>
                    <a:lnTo>
                      <a:pt x="42" y="36"/>
                    </a:lnTo>
                    <a:lnTo>
                      <a:pt x="34" y="38"/>
                    </a:lnTo>
                    <a:lnTo>
                      <a:pt x="28" y="38"/>
                    </a:lnTo>
                    <a:lnTo>
                      <a:pt x="22" y="34"/>
                    </a:lnTo>
                    <a:lnTo>
                      <a:pt x="26" y="30"/>
                    </a:lnTo>
                    <a:lnTo>
                      <a:pt x="30" y="24"/>
                    </a:lnTo>
                    <a:lnTo>
                      <a:pt x="32" y="20"/>
                    </a:lnTo>
                    <a:lnTo>
                      <a:pt x="26" y="18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0" y="32"/>
                    </a:lnTo>
                    <a:lnTo>
                      <a:pt x="16" y="3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2" name="Freeform 86"/>
              <p:cNvSpPr>
                <a:spLocks/>
              </p:cNvSpPr>
              <p:nvPr/>
            </p:nvSpPr>
            <p:spPr bwMode="gray">
              <a:xfrm>
                <a:off x="4619" y="3452"/>
                <a:ext cx="29" cy="24"/>
              </a:xfrm>
              <a:custGeom>
                <a:avLst/>
                <a:gdLst>
                  <a:gd name="T0" fmla="*/ 4 w 26"/>
                  <a:gd name="T1" fmla="*/ 6 h 22"/>
                  <a:gd name="T2" fmla="*/ 12 w 26"/>
                  <a:gd name="T3" fmla="*/ 4 h 22"/>
                  <a:gd name="T4" fmla="*/ 18 w 26"/>
                  <a:gd name="T5" fmla="*/ 6 h 22"/>
                  <a:gd name="T6" fmla="*/ 20 w 26"/>
                  <a:gd name="T7" fmla="*/ 4 h 22"/>
                  <a:gd name="T8" fmla="*/ 22 w 26"/>
                  <a:gd name="T9" fmla="*/ 2 h 22"/>
                  <a:gd name="T10" fmla="*/ 26 w 26"/>
                  <a:gd name="T11" fmla="*/ 0 h 22"/>
                  <a:gd name="T12" fmla="*/ 26 w 26"/>
                  <a:gd name="T13" fmla="*/ 8 h 22"/>
                  <a:gd name="T14" fmla="*/ 26 w 26"/>
                  <a:gd name="T15" fmla="*/ 12 h 22"/>
                  <a:gd name="T16" fmla="*/ 24 w 26"/>
                  <a:gd name="T17" fmla="*/ 20 h 22"/>
                  <a:gd name="T18" fmla="*/ 18 w 26"/>
                  <a:gd name="T19" fmla="*/ 22 h 22"/>
                  <a:gd name="T20" fmla="*/ 12 w 26"/>
                  <a:gd name="T21" fmla="*/ 20 h 22"/>
                  <a:gd name="T22" fmla="*/ 8 w 26"/>
                  <a:gd name="T23" fmla="*/ 22 h 22"/>
                  <a:gd name="T24" fmla="*/ 2 w 26"/>
                  <a:gd name="T25" fmla="*/ 22 h 22"/>
                  <a:gd name="T26" fmla="*/ 2 w 26"/>
                  <a:gd name="T27" fmla="*/ 16 h 22"/>
                  <a:gd name="T28" fmla="*/ 0 w 26"/>
                  <a:gd name="T29" fmla="*/ 12 h 22"/>
                  <a:gd name="T30" fmla="*/ 4 w 26"/>
                  <a:gd name="T31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22">
                    <a:moveTo>
                      <a:pt x="4" y="6"/>
                    </a:moveTo>
                    <a:lnTo>
                      <a:pt x="12" y="4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4" y="20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8" y="22"/>
                    </a:lnTo>
                    <a:lnTo>
                      <a:pt x="2" y="22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3" name="Freeform 87"/>
              <p:cNvSpPr>
                <a:spLocks/>
              </p:cNvSpPr>
              <p:nvPr/>
            </p:nvSpPr>
            <p:spPr bwMode="gray">
              <a:xfrm>
                <a:off x="4586" y="3937"/>
                <a:ext cx="252" cy="72"/>
              </a:xfrm>
              <a:custGeom>
                <a:avLst/>
                <a:gdLst>
                  <a:gd name="T0" fmla="*/ 6 w 230"/>
                  <a:gd name="T1" fmla="*/ 26 h 66"/>
                  <a:gd name="T2" fmla="*/ 14 w 230"/>
                  <a:gd name="T3" fmla="*/ 20 h 66"/>
                  <a:gd name="T4" fmla="*/ 10 w 230"/>
                  <a:gd name="T5" fmla="*/ 10 h 66"/>
                  <a:gd name="T6" fmla="*/ 18 w 230"/>
                  <a:gd name="T7" fmla="*/ 16 h 66"/>
                  <a:gd name="T8" fmla="*/ 30 w 230"/>
                  <a:gd name="T9" fmla="*/ 20 h 66"/>
                  <a:gd name="T10" fmla="*/ 42 w 230"/>
                  <a:gd name="T11" fmla="*/ 16 h 66"/>
                  <a:gd name="T12" fmla="*/ 50 w 230"/>
                  <a:gd name="T13" fmla="*/ 10 h 66"/>
                  <a:gd name="T14" fmla="*/ 50 w 230"/>
                  <a:gd name="T15" fmla="*/ 20 h 66"/>
                  <a:gd name="T16" fmla="*/ 58 w 230"/>
                  <a:gd name="T17" fmla="*/ 22 h 66"/>
                  <a:gd name="T18" fmla="*/ 68 w 230"/>
                  <a:gd name="T19" fmla="*/ 30 h 66"/>
                  <a:gd name="T20" fmla="*/ 86 w 230"/>
                  <a:gd name="T21" fmla="*/ 24 h 66"/>
                  <a:gd name="T22" fmla="*/ 108 w 230"/>
                  <a:gd name="T23" fmla="*/ 18 h 66"/>
                  <a:gd name="T24" fmla="*/ 126 w 230"/>
                  <a:gd name="T25" fmla="*/ 14 h 66"/>
                  <a:gd name="T26" fmla="*/ 138 w 230"/>
                  <a:gd name="T27" fmla="*/ 18 h 66"/>
                  <a:gd name="T28" fmla="*/ 150 w 230"/>
                  <a:gd name="T29" fmla="*/ 14 h 66"/>
                  <a:gd name="T30" fmla="*/ 154 w 230"/>
                  <a:gd name="T31" fmla="*/ 16 h 66"/>
                  <a:gd name="T32" fmla="*/ 172 w 230"/>
                  <a:gd name="T33" fmla="*/ 10 h 66"/>
                  <a:gd name="T34" fmla="*/ 180 w 230"/>
                  <a:gd name="T35" fmla="*/ 10 h 66"/>
                  <a:gd name="T36" fmla="*/ 182 w 230"/>
                  <a:gd name="T37" fmla="*/ 24 h 66"/>
                  <a:gd name="T38" fmla="*/ 194 w 230"/>
                  <a:gd name="T39" fmla="*/ 26 h 66"/>
                  <a:gd name="T40" fmla="*/ 204 w 230"/>
                  <a:gd name="T41" fmla="*/ 16 h 66"/>
                  <a:gd name="T42" fmla="*/ 220 w 230"/>
                  <a:gd name="T43" fmla="*/ 12 h 66"/>
                  <a:gd name="T44" fmla="*/ 224 w 230"/>
                  <a:gd name="T45" fmla="*/ 4 h 66"/>
                  <a:gd name="T46" fmla="*/ 228 w 230"/>
                  <a:gd name="T47" fmla="*/ 8 h 66"/>
                  <a:gd name="T48" fmla="*/ 230 w 230"/>
                  <a:gd name="T49" fmla="*/ 22 h 66"/>
                  <a:gd name="T50" fmla="*/ 218 w 230"/>
                  <a:gd name="T51" fmla="*/ 34 h 66"/>
                  <a:gd name="T52" fmla="*/ 200 w 230"/>
                  <a:gd name="T53" fmla="*/ 36 h 66"/>
                  <a:gd name="T54" fmla="*/ 184 w 230"/>
                  <a:gd name="T55" fmla="*/ 44 h 66"/>
                  <a:gd name="T56" fmla="*/ 170 w 230"/>
                  <a:gd name="T57" fmla="*/ 48 h 66"/>
                  <a:gd name="T58" fmla="*/ 156 w 230"/>
                  <a:gd name="T59" fmla="*/ 48 h 66"/>
                  <a:gd name="T60" fmla="*/ 142 w 230"/>
                  <a:gd name="T61" fmla="*/ 58 h 66"/>
                  <a:gd name="T62" fmla="*/ 124 w 230"/>
                  <a:gd name="T63" fmla="*/ 64 h 66"/>
                  <a:gd name="T64" fmla="*/ 110 w 230"/>
                  <a:gd name="T65" fmla="*/ 64 h 66"/>
                  <a:gd name="T66" fmla="*/ 110 w 230"/>
                  <a:gd name="T67" fmla="*/ 54 h 66"/>
                  <a:gd name="T68" fmla="*/ 100 w 230"/>
                  <a:gd name="T69" fmla="*/ 52 h 66"/>
                  <a:gd name="T70" fmla="*/ 86 w 230"/>
                  <a:gd name="T71" fmla="*/ 50 h 66"/>
                  <a:gd name="T72" fmla="*/ 66 w 230"/>
                  <a:gd name="T73" fmla="*/ 48 h 66"/>
                  <a:gd name="T74" fmla="*/ 46 w 230"/>
                  <a:gd name="T75" fmla="*/ 50 h 66"/>
                  <a:gd name="T76" fmla="*/ 32 w 230"/>
                  <a:gd name="T77" fmla="*/ 50 h 66"/>
                  <a:gd name="T78" fmla="*/ 20 w 230"/>
                  <a:gd name="T79" fmla="*/ 52 h 66"/>
                  <a:gd name="T80" fmla="*/ 2 w 230"/>
                  <a:gd name="T81" fmla="*/ 52 h 66"/>
                  <a:gd name="T82" fmla="*/ 2 w 230"/>
                  <a:gd name="T83" fmla="*/ 34 h 66"/>
                  <a:gd name="T84" fmla="*/ 2 w 230"/>
                  <a:gd name="T85" fmla="*/ 2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66">
                    <a:moveTo>
                      <a:pt x="2" y="20"/>
                    </a:moveTo>
                    <a:lnTo>
                      <a:pt x="6" y="26"/>
                    </a:lnTo>
                    <a:lnTo>
                      <a:pt x="16" y="26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6"/>
                    </a:lnTo>
                    <a:lnTo>
                      <a:pt x="24" y="22"/>
                    </a:lnTo>
                    <a:lnTo>
                      <a:pt x="30" y="20"/>
                    </a:lnTo>
                    <a:lnTo>
                      <a:pt x="38" y="20"/>
                    </a:lnTo>
                    <a:lnTo>
                      <a:pt x="42" y="16"/>
                    </a:lnTo>
                    <a:lnTo>
                      <a:pt x="44" y="10"/>
                    </a:lnTo>
                    <a:lnTo>
                      <a:pt x="50" y="10"/>
                    </a:lnTo>
                    <a:lnTo>
                      <a:pt x="52" y="14"/>
                    </a:lnTo>
                    <a:lnTo>
                      <a:pt x="50" y="20"/>
                    </a:lnTo>
                    <a:lnTo>
                      <a:pt x="52" y="24"/>
                    </a:lnTo>
                    <a:lnTo>
                      <a:pt x="58" y="22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78" y="26"/>
                    </a:lnTo>
                    <a:lnTo>
                      <a:pt x="86" y="24"/>
                    </a:lnTo>
                    <a:lnTo>
                      <a:pt x="94" y="18"/>
                    </a:lnTo>
                    <a:lnTo>
                      <a:pt x="108" y="18"/>
                    </a:lnTo>
                    <a:lnTo>
                      <a:pt x="116" y="14"/>
                    </a:lnTo>
                    <a:lnTo>
                      <a:pt x="126" y="14"/>
                    </a:lnTo>
                    <a:lnTo>
                      <a:pt x="130" y="16"/>
                    </a:lnTo>
                    <a:lnTo>
                      <a:pt x="138" y="18"/>
                    </a:lnTo>
                    <a:lnTo>
                      <a:pt x="146" y="18"/>
                    </a:lnTo>
                    <a:lnTo>
                      <a:pt x="150" y="14"/>
                    </a:lnTo>
                    <a:lnTo>
                      <a:pt x="152" y="16"/>
                    </a:lnTo>
                    <a:lnTo>
                      <a:pt x="154" y="16"/>
                    </a:lnTo>
                    <a:lnTo>
                      <a:pt x="164" y="16"/>
                    </a:lnTo>
                    <a:lnTo>
                      <a:pt x="172" y="10"/>
                    </a:lnTo>
                    <a:lnTo>
                      <a:pt x="176" y="10"/>
                    </a:lnTo>
                    <a:lnTo>
                      <a:pt x="180" y="10"/>
                    </a:lnTo>
                    <a:lnTo>
                      <a:pt x="180" y="16"/>
                    </a:lnTo>
                    <a:lnTo>
                      <a:pt x="182" y="24"/>
                    </a:lnTo>
                    <a:lnTo>
                      <a:pt x="188" y="30"/>
                    </a:lnTo>
                    <a:lnTo>
                      <a:pt x="194" y="26"/>
                    </a:lnTo>
                    <a:lnTo>
                      <a:pt x="198" y="18"/>
                    </a:lnTo>
                    <a:lnTo>
                      <a:pt x="204" y="16"/>
                    </a:lnTo>
                    <a:lnTo>
                      <a:pt x="212" y="14"/>
                    </a:lnTo>
                    <a:lnTo>
                      <a:pt x="220" y="12"/>
                    </a:lnTo>
                    <a:lnTo>
                      <a:pt x="222" y="8"/>
                    </a:lnTo>
                    <a:lnTo>
                      <a:pt x="224" y="4"/>
                    </a:lnTo>
                    <a:lnTo>
                      <a:pt x="226" y="0"/>
                    </a:lnTo>
                    <a:lnTo>
                      <a:pt x="228" y="8"/>
                    </a:lnTo>
                    <a:lnTo>
                      <a:pt x="230" y="14"/>
                    </a:lnTo>
                    <a:lnTo>
                      <a:pt x="230" y="22"/>
                    </a:lnTo>
                    <a:lnTo>
                      <a:pt x="226" y="32"/>
                    </a:lnTo>
                    <a:lnTo>
                      <a:pt x="218" y="34"/>
                    </a:lnTo>
                    <a:lnTo>
                      <a:pt x="204" y="36"/>
                    </a:lnTo>
                    <a:lnTo>
                      <a:pt x="200" y="36"/>
                    </a:lnTo>
                    <a:lnTo>
                      <a:pt x="194" y="40"/>
                    </a:lnTo>
                    <a:lnTo>
                      <a:pt x="184" y="44"/>
                    </a:lnTo>
                    <a:lnTo>
                      <a:pt x="176" y="44"/>
                    </a:lnTo>
                    <a:lnTo>
                      <a:pt x="170" y="48"/>
                    </a:lnTo>
                    <a:lnTo>
                      <a:pt x="162" y="48"/>
                    </a:lnTo>
                    <a:lnTo>
                      <a:pt x="156" y="48"/>
                    </a:lnTo>
                    <a:lnTo>
                      <a:pt x="150" y="54"/>
                    </a:lnTo>
                    <a:lnTo>
                      <a:pt x="142" y="58"/>
                    </a:lnTo>
                    <a:lnTo>
                      <a:pt x="132" y="62"/>
                    </a:lnTo>
                    <a:lnTo>
                      <a:pt x="124" y="64"/>
                    </a:lnTo>
                    <a:lnTo>
                      <a:pt x="112" y="66"/>
                    </a:lnTo>
                    <a:lnTo>
                      <a:pt x="110" y="64"/>
                    </a:lnTo>
                    <a:lnTo>
                      <a:pt x="108" y="60"/>
                    </a:lnTo>
                    <a:lnTo>
                      <a:pt x="110" y="54"/>
                    </a:lnTo>
                    <a:lnTo>
                      <a:pt x="104" y="50"/>
                    </a:lnTo>
                    <a:lnTo>
                      <a:pt x="100" y="52"/>
                    </a:lnTo>
                    <a:lnTo>
                      <a:pt x="92" y="54"/>
                    </a:lnTo>
                    <a:lnTo>
                      <a:pt x="86" y="50"/>
                    </a:lnTo>
                    <a:lnTo>
                      <a:pt x="74" y="48"/>
                    </a:lnTo>
                    <a:lnTo>
                      <a:pt x="66" y="48"/>
                    </a:lnTo>
                    <a:lnTo>
                      <a:pt x="54" y="48"/>
                    </a:lnTo>
                    <a:lnTo>
                      <a:pt x="46" y="50"/>
                    </a:lnTo>
                    <a:lnTo>
                      <a:pt x="40" y="48"/>
                    </a:lnTo>
                    <a:lnTo>
                      <a:pt x="32" y="50"/>
                    </a:lnTo>
                    <a:lnTo>
                      <a:pt x="24" y="50"/>
                    </a:lnTo>
                    <a:lnTo>
                      <a:pt x="20" y="52"/>
                    </a:lnTo>
                    <a:lnTo>
                      <a:pt x="10" y="54"/>
                    </a:lnTo>
                    <a:lnTo>
                      <a:pt x="2" y="52"/>
                    </a:lnTo>
                    <a:lnTo>
                      <a:pt x="2" y="40"/>
                    </a:lnTo>
                    <a:lnTo>
                      <a:pt x="2" y="34"/>
                    </a:lnTo>
                    <a:lnTo>
                      <a:pt x="0" y="28"/>
                    </a:lnTo>
                    <a:lnTo>
                      <a:pt x="2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4" name="Freeform 88"/>
              <p:cNvSpPr>
                <a:spLocks/>
              </p:cNvSpPr>
              <p:nvPr/>
            </p:nvSpPr>
            <p:spPr bwMode="gray">
              <a:xfrm>
                <a:off x="4514" y="3882"/>
                <a:ext cx="20" cy="24"/>
              </a:xfrm>
              <a:custGeom>
                <a:avLst/>
                <a:gdLst>
                  <a:gd name="T0" fmla="*/ 0 w 18"/>
                  <a:gd name="T1" fmla="*/ 4 h 22"/>
                  <a:gd name="T2" fmla="*/ 4 w 18"/>
                  <a:gd name="T3" fmla="*/ 0 h 22"/>
                  <a:gd name="T4" fmla="*/ 8 w 18"/>
                  <a:gd name="T5" fmla="*/ 4 h 22"/>
                  <a:gd name="T6" fmla="*/ 8 w 18"/>
                  <a:gd name="T7" fmla="*/ 6 h 22"/>
                  <a:gd name="T8" fmla="*/ 12 w 18"/>
                  <a:gd name="T9" fmla="*/ 8 h 22"/>
                  <a:gd name="T10" fmla="*/ 16 w 18"/>
                  <a:gd name="T11" fmla="*/ 10 h 22"/>
                  <a:gd name="T12" fmla="*/ 18 w 18"/>
                  <a:gd name="T13" fmla="*/ 14 h 22"/>
                  <a:gd name="T14" fmla="*/ 14 w 18"/>
                  <a:gd name="T15" fmla="*/ 20 h 22"/>
                  <a:gd name="T16" fmla="*/ 8 w 18"/>
                  <a:gd name="T17" fmla="*/ 22 h 22"/>
                  <a:gd name="T18" fmla="*/ 2 w 18"/>
                  <a:gd name="T19" fmla="*/ 18 h 22"/>
                  <a:gd name="T20" fmla="*/ 0 w 18"/>
                  <a:gd name="T21" fmla="*/ 10 h 22"/>
                  <a:gd name="T22" fmla="*/ 0 w 18"/>
                  <a:gd name="T23" fmla="*/ 6 h 22"/>
                  <a:gd name="T24" fmla="*/ 0 w 18"/>
                  <a:gd name="T25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22">
                    <a:moveTo>
                      <a:pt x="0" y="4"/>
                    </a:moveTo>
                    <a:lnTo>
                      <a:pt x="4" y="0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12" y="8"/>
                    </a:lnTo>
                    <a:lnTo>
                      <a:pt x="16" y="10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2"/>
                    </a:lnTo>
                    <a:lnTo>
                      <a:pt x="2" y="18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5" name="Freeform 89"/>
              <p:cNvSpPr>
                <a:spLocks/>
              </p:cNvSpPr>
              <p:nvPr/>
            </p:nvSpPr>
            <p:spPr bwMode="gray">
              <a:xfrm>
                <a:off x="4630" y="3807"/>
                <a:ext cx="20" cy="22"/>
              </a:xfrm>
              <a:custGeom>
                <a:avLst/>
                <a:gdLst>
                  <a:gd name="T0" fmla="*/ 16 w 18"/>
                  <a:gd name="T1" fmla="*/ 0 h 20"/>
                  <a:gd name="T2" fmla="*/ 18 w 18"/>
                  <a:gd name="T3" fmla="*/ 2 h 20"/>
                  <a:gd name="T4" fmla="*/ 18 w 18"/>
                  <a:gd name="T5" fmla="*/ 10 h 20"/>
                  <a:gd name="T6" fmla="*/ 14 w 18"/>
                  <a:gd name="T7" fmla="*/ 16 h 20"/>
                  <a:gd name="T8" fmla="*/ 4 w 18"/>
                  <a:gd name="T9" fmla="*/ 20 h 20"/>
                  <a:gd name="T10" fmla="*/ 0 w 18"/>
                  <a:gd name="T11" fmla="*/ 14 h 20"/>
                  <a:gd name="T12" fmla="*/ 4 w 18"/>
                  <a:gd name="T13" fmla="*/ 8 h 20"/>
                  <a:gd name="T14" fmla="*/ 10 w 18"/>
                  <a:gd name="T15" fmla="*/ 8 h 20"/>
                  <a:gd name="T16" fmla="*/ 12 w 18"/>
                  <a:gd name="T17" fmla="*/ 4 h 20"/>
                  <a:gd name="T18" fmla="*/ 16 w 18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0">
                    <a:moveTo>
                      <a:pt x="16" y="0"/>
                    </a:moveTo>
                    <a:lnTo>
                      <a:pt x="18" y="2"/>
                    </a:lnTo>
                    <a:lnTo>
                      <a:pt x="18" y="10"/>
                    </a:lnTo>
                    <a:lnTo>
                      <a:pt x="14" y="16"/>
                    </a:lnTo>
                    <a:lnTo>
                      <a:pt x="4" y="20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6" name="Freeform 90"/>
              <p:cNvSpPr>
                <a:spLocks/>
              </p:cNvSpPr>
              <p:nvPr/>
            </p:nvSpPr>
            <p:spPr bwMode="gray">
              <a:xfrm>
                <a:off x="4560" y="3382"/>
                <a:ext cx="22" cy="22"/>
              </a:xfrm>
              <a:custGeom>
                <a:avLst/>
                <a:gdLst>
                  <a:gd name="T0" fmla="*/ 16 w 20"/>
                  <a:gd name="T1" fmla="*/ 4 h 20"/>
                  <a:gd name="T2" fmla="*/ 20 w 20"/>
                  <a:gd name="T3" fmla="*/ 8 h 20"/>
                  <a:gd name="T4" fmla="*/ 16 w 20"/>
                  <a:gd name="T5" fmla="*/ 20 h 20"/>
                  <a:gd name="T6" fmla="*/ 6 w 20"/>
                  <a:gd name="T7" fmla="*/ 18 h 20"/>
                  <a:gd name="T8" fmla="*/ 0 w 20"/>
                  <a:gd name="T9" fmla="*/ 12 h 20"/>
                  <a:gd name="T10" fmla="*/ 0 w 20"/>
                  <a:gd name="T11" fmla="*/ 4 h 20"/>
                  <a:gd name="T12" fmla="*/ 4 w 20"/>
                  <a:gd name="T13" fmla="*/ 0 h 20"/>
                  <a:gd name="T14" fmla="*/ 10 w 20"/>
                  <a:gd name="T15" fmla="*/ 0 h 20"/>
                  <a:gd name="T16" fmla="*/ 16 w 20"/>
                  <a:gd name="T17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0">
                    <a:moveTo>
                      <a:pt x="16" y="4"/>
                    </a:moveTo>
                    <a:lnTo>
                      <a:pt x="20" y="8"/>
                    </a:lnTo>
                    <a:lnTo>
                      <a:pt x="16" y="20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10" y="0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7" name="Freeform 91"/>
              <p:cNvSpPr>
                <a:spLocks/>
              </p:cNvSpPr>
              <p:nvPr/>
            </p:nvSpPr>
            <p:spPr bwMode="gray">
              <a:xfrm>
                <a:off x="4634" y="3678"/>
                <a:ext cx="31" cy="29"/>
              </a:xfrm>
              <a:custGeom>
                <a:avLst/>
                <a:gdLst>
                  <a:gd name="T0" fmla="*/ 10 w 28"/>
                  <a:gd name="T1" fmla="*/ 12 h 26"/>
                  <a:gd name="T2" fmla="*/ 4 w 28"/>
                  <a:gd name="T3" fmla="*/ 12 h 26"/>
                  <a:gd name="T4" fmla="*/ 0 w 28"/>
                  <a:gd name="T5" fmla="*/ 6 h 26"/>
                  <a:gd name="T6" fmla="*/ 2 w 28"/>
                  <a:gd name="T7" fmla="*/ 0 h 26"/>
                  <a:gd name="T8" fmla="*/ 6 w 28"/>
                  <a:gd name="T9" fmla="*/ 0 h 26"/>
                  <a:gd name="T10" fmla="*/ 12 w 28"/>
                  <a:gd name="T11" fmla="*/ 2 h 26"/>
                  <a:gd name="T12" fmla="*/ 14 w 28"/>
                  <a:gd name="T13" fmla="*/ 6 h 26"/>
                  <a:gd name="T14" fmla="*/ 20 w 28"/>
                  <a:gd name="T15" fmla="*/ 6 h 26"/>
                  <a:gd name="T16" fmla="*/ 22 w 28"/>
                  <a:gd name="T17" fmla="*/ 8 h 26"/>
                  <a:gd name="T18" fmla="*/ 24 w 28"/>
                  <a:gd name="T19" fmla="*/ 12 h 26"/>
                  <a:gd name="T20" fmla="*/ 24 w 28"/>
                  <a:gd name="T21" fmla="*/ 16 h 26"/>
                  <a:gd name="T22" fmla="*/ 28 w 28"/>
                  <a:gd name="T23" fmla="*/ 20 h 26"/>
                  <a:gd name="T24" fmla="*/ 28 w 28"/>
                  <a:gd name="T25" fmla="*/ 26 h 26"/>
                  <a:gd name="T26" fmla="*/ 20 w 28"/>
                  <a:gd name="T27" fmla="*/ 22 h 26"/>
                  <a:gd name="T28" fmla="*/ 18 w 28"/>
                  <a:gd name="T29" fmla="*/ 18 h 26"/>
                  <a:gd name="T30" fmla="*/ 14 w 28"/>
                  <a:gd name="T31" fmla="*/ 16 h 26"/>
                  <a:gd name="T32" fmla="*/ 10 w 28"/>
                  <a:gd name="T33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26">
                    <a:moveTo>
                      <a:pt x="10" y="12"/>
                    </a:moveTo>
                    <a:lnTo>
                      <a:pt x="4" y="12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4" y="6"/>
                    </a:lnTo>
                    <a:lnTo>
                      <a:pt x="20" y="6"/>
                    </a:lnTo>
                    <a:lnTo>
                      <a:pt x="22" y="8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8" y="20"/>
                    </a:lnTo>
                    <a:lnTo>
                      <a:pt x="28" y="26"/>
                    </a:lnTo>
                    <a:lnTo>
                      <a:pt x="20" y="22"/>
                    </a:lnTo>
                    <a:lnTo>
                      <a:pt x="18" y="18"/>
                    </a:lnTo>
                    <a:lnTo>
                      <a:pt x="14" y="16"/>
                    </a:lnTo>
                    <a:lnTo>
                      <a:pt x="10" y="1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8" name="Freeform 92"/>
              <p:cNvSpPr>
                <a:spLocks/>
              </p:cNvSpPr>
              <p:nvPr/>
            </p:nvSpPr>
            <p:spPr bwMode="gray">
              <a:xfrm>
                <a:off x="4641" y="3395"/>
                <a:ext cx="20" cy="13"/>
              </a:xfrm>
              <a:custGeom>
                <a:avLst/>
                <a:gdLst>
                  <a:gd name="T0" fmla="*/ 8 w 18"/>
                  <a:gd name="T1" fmla="*/ 0 h 12"/>
                  <a:gd name="T2" fmla="*/ 14 w 18"/>
                  <a:gd name="T3" fmla="*/ 0 h 12"/>
                  <a:gd name="T4" fmla="*/ 18 w 18"/>
                  <a:gd name="T5" fmla="*/ 4 h 12"/>
                  <a:gd name="T6" fmla="*/ 18 w 18"/>
                  <a:gd name="T7" fmla="*/ 8 h 12"/>
                  <a:gd name="T8" fmla="*/ 16 w 18"/>
                  <a:gd name="T9" fmla="*/ 10 h 12"/>
                  <a:gd name="T10" fmla="*/ 10 w 18"/>
                  <a:gd name="T11" fmla="*/ 12 h 12"/>
                  <a:gd name="T12" fmla="*/ 4 w 18"/>
                  <a:gd name="T13" fmla="*/ 12 h 12"/>
                  <a:gd name="T14" fmla="*/ 0 w 18"/>
                  <a:gd name="T15" fmla="*/ 8 h 12"/>
                  <a:gd name="T16" fmla="*/ 0 w 18"/>
                  <a:gd name="T17" fmla="*/ 4 h 12"/>
                  <a:gd name="T18" fmla="*/ 2 w 18"/>
                  <a:gd name="T19" fmla="*/ 0 h 12"/>
                  <a:gd name="T20" fmla="*/ 8 w 18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14" y="0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6" y="10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26" name="Group 93"/>
            <p:cNvGrpSpPr>
              <a:grpSpLocks/>
            </p:cNvGrpSpPr>
            <p:nvPr/>
          </p:nvGrpSpPr>
          <p:grpSpPr bwMode="gray">
            <a:xfrm>
              <a:off x="2066398" y="3453755"/>
              <a:ext cx="351906" cy="351848"/>
              <a:chOff x="3254" y="1693"/>
              <a:chExt cx="352" cy="370"/>
            </a:xfrm>
            <a:solidFill>
              <a:srgbClr val="008AB3"/>
            </a:solidFill>
          </p:grpSpPr>
          <p:sp>
            <p:nvSpPr>
              <p:cNvPr id="240" name="Freeform 94"/>
              <p:cNvSpPr>
                <a:spLocks/>
              </p:cNvSpPr>
              <p:nvPr/>
            </p:nvSpPr>
            <p:spPr bwMode="gray">
              <a:xfrm>
                <a:off x="3254" y="1693"/>
                <a:ext cx="172" cy="315"/>
              </a:xfrm>
              <a:custGeom>
                <a:avLst/>
                <a:gdLst>
                  <a:gd name="T0" fmla="*/ 18 w 157"/>
                  <a:gd name="T1" fmla="*/ 264 h 288"/>
                  <a:gd name="T2" fmla="*/ 30 w 157"/>
                  <a:gd name="T3" fmla="*/ 236 h 288"/>
                  <a:gd name="T4" fmla="*/ 22 w 157"/>
                  <a:gd name="T5" fmla="*/ 224 h 288"/>
                  <a:gd name="T6" fmla="*/ 0 w 157"/>
                  <a:gd name="T7" fmla="*/ 210 h 288"/>
                  <a:gd name="T8" fmla="*/ 12 w 157"/>
                  <a:gd name="T9" fmla="*/ 182 h 288"/>
                  <a:gd name="T10" fmla="*/ 14 w 157"/>
                  <a:gd name="T11" fmla="*/ 168 h 288"/>
                  <a:gd name="T12" fmla="*/ 2 w 157"/>
                  <a:gd name="T13" fmla="*/ 142 h 288"/>
                  <a:gd name="T14" fmla="*/ 6 w 157"/>
                  <a:gd name="T15" fmla="*/ 102 h 288"/>
                  <a:gd name="T16" fmla="*/ 24 w 157"/>
                  <a:gd name="T17" fmla="*/ 114 h 288"/>
                  <a:gd name="T18" fmla="*/ 38 w 157"/>
                  <a:gd name="T19" fmla="*/ 116 h 288"/>
                  <a:gd name="T20" fmla="*/ 44 w 157"/>
                  <a:gd name="T21" fmla="*/ 96 h 288"/>
                  <a:gd name="T22" fmla="*/ 56 w 157"/>
                  <a:gd name="T23" fmla="*/ 106 h 288"/>
                  <a:gd name="T24" fmla="*/ 65 w 157"/>
                  <a:gd name="T25" fmla="*/ 94 h 288"/>
                  <a:gd name="T26" fmla="*/ 62 w 157"/>
                  <a:gd name="T27" fmla="*/ 70 h 288"/>
                  <a:gd name="T28" fmla="*/ 34 w 157"/>
                  <a:gd name="T29" fmla="*/ 78 h 288"/>
                  <a:gd name="T30" fmla="*/ 24 w 157"/>
                  <a:gd name="T31" fmla="*/ 90 h 288"/>
                  <a:gd name="T32" fmla="*/ 16 w 157"/>
                  <a:gd name="T33" fmla="*/ 102 h 288"/>
                  <a:gd name="T34" fmla="*/ 24 w 157"/>
                  <a:gd name="T35" fmla="*/ 68 h 288"/>
                  <a:gd name="T36" fmla="*/ 52 w 157"/>
                  <a:gd name="T37" fmla="*/ 58 h 288"/>
                  <a:gd name="T38" fmla="*/ 93 w 157"/>
                  <a:gd name="T39" fmla="*/ 28 h 288"/>
                  <a:gd name="T40" fmla="*/ 121 w 157"/>
                  <a:gd name="T41" fmla="*/ 10 h 288"/>
                  <a:gd name="T42" fmla="*/ 135 w 157"/>
                  <a:gd name="T43" fmla="*/ 0 h 288"/>
                  <a:gd name="T44" fmla="*/ 129 w 157"/>
                  <a:gd name="T45" fmla="*/ 22 h 288"/>
                  <a:gd name="T46" fmla="*/ 129 w 157"/>
                  <a:gd name="T47" fmla="*/ 56 h 288"/>
                  <a:gd name="T48" fmla="*/ 119 w 157"/>
                  <a:gd name="T49" fmla="*/ 74 h 288"/>
                  <a:gd name="T50" fmla="*/ 121 w 157"/>
                  <a:gd name="T51" fmla="*/ 84 h 288"/>
                  <a:gd name="T52" fmla="*/ 115 w 157"/>
                  <a:gd name="T53" fmla="*/ 104 h 288"/>
                  <a:gd name="T54" fmla="*/ 119 w 157"/>
                  <a:gd name="T55" fmla="*/ 114 h 288"/>
                  <a:gd name="T56" fmla="*/ 129 w 157"/>
                  <a:gd name="T57" fmla="*/ 118 h 288"/>
                  <a:gd name="T58" fmla="*/ 149 w 157"/>
                  <a:gd name="T59" fmla="*/ 118 h 288"/>
                  <a:gd name="T60" fmla="*/ 157 w 157"/>
                  <a:gd name="T61" fmla="*/ 136 h 288"/>
                  <a:gd name="T62" fmla="*/ 141 w 157"/>
                  <a:gd name="T63" fmla="*/ 154 h 288"/>
                  <a:gd name="T64" fmla="*/ 131 w 157"/>
                  <a:gd name="T65" fmla="*/ 150 h 288"/>
                  <a:gd name="T66" fmla="*/ 119 w 157"/>
                  <a:gd name="T67" fmla="*/ 150 h 288"/>
                  <a:gd name="T68" fmla="*/ 119 w 157"/>
                  <a:gd name="T69" fmla="*/ 178 h 288"/>
                  <a:gd name="T70" fmla="*/ 109 w 157"/>
                  <a:gd name="T71" fmla="*/ 180 h 288"/>
                  <a:gd name="T72" fmla="*/ 107 w 157"/>
                  <a:gd name="T73" fmla="*/ 198 h 288"/>
                  <a:gd name="T74" fmla="*/ 95 w 157"/>
                  <a:gd name="T75" fmla="*/ 210 h 288"/>
                  <a:gd name="T76" fmla="*/ 85 w 157"/>
                  <a:gd name="T77" fmla="*/ 216 h 288"/>
                  <a:gd name="T78" fmla="*/ 87 w 157"/>
                  <a:gd name="T79" fmla="*/ 238 h 288"/>
                  <a:gd name="T80" fmla="*/ 79 w 157"/>
                  <a:gd name="T81" fmla="*/ 252 h 288"/>
                  <a:gd name="T82" fmla="*/ 91 w 157"/>
                  <a:gd name="T83" fmla="*/ 260 h 288"/>
                  <a:gd name="T84" fmla="*/ 109 w 157"/>
                  <a:gd name="T85" fmla="*/ 276 h 288"/>
                  <a:gd name="T86" fmla="*/ 101 w 157"/>
                  <a:gd name="T87" fmla="*/ 286 h 288"/>
                  <a:gd name="T88" fmla="*/ 75 w 157"/>
                  <a:gd name="T89" fmla="*/ 286 h 288"/>
                  <a:gd name="T90" fmla="*/ 44 w 157"/>
                  <a:gd name="T91" fmla="*/ 27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7" h="288">
                    <a:moveTo>
                      <a:pt x="28" y="274"/>
                    </a:moveTo>
                    <a:lnTo>
                      <a:pt x="24" y="272"/>
                    </a:lnTo>
                    <a:lnTo>
                      <a:pt x="18" y="264"/>
                    </a:lnTo>
                    <a:lnTo>
                      <a:pt x="22" y="258"/>
                    </a:lnTo>
                    <a:lnTo>
                      <a:pt x="30" y="248"/>
                    </a:lnTo>
                    <a:lnTo>
                      <a:pt x="30" y="236"/>
                    </a:lnTo>
                    <a:lnTo>
                      <a:pt x="30" y="228"/>
                    </a:lnTo>
                    <a:lnTo>
                      <a:pt x="28" y="222"/>
                    </a:lnTo>
                    <a:lnTo>
                      <a:pt x="22" y="224"/>
                    </a:lnTo>
                    <a:lnTo>
                      <a:pt x="14" y="220"/>
                    </a:lnTo>
                    <a:lnTo>
                      <a:pt x="8" y="218"/>
                    </a:lnTo>
                    <a:lnTo>
                      <a:pt x="0" y="210"/>
                    </a:lnTo>
                    <a:lnTo>
                      <a:pt x="2" y="200"/>
                    </a:lnTo>
                    <a:lnTo>
                      <a:pt x="6" y="184"/>
                    </a:lnTo>
                    <a:lnTo>
                      <a:pt x="12" y="182"/>
                    </a:lnTo>
                    <a:lnTo>
                      <a:pt x="16" y="178"/>
                    </a:lnTo>
                    <a:lnTo>
                      <a:pt x="18" y="174"/>
                    </a:lnTo>
                    <a:lnTo>
                      <a:pt x="14" y="168"/>
                    </a:lnTo>
                    <a:lnTo>
                      <a:pt x="10" y="160"/>
                    </a:lnTo>
                    <a:lnTo>
                      <a:pt x="2" y="164"/>
                    </a:lnTo>
                    <a:lnTo>
                      <a:pt x="2" y="142"/>
                    </a:lnTo>
                    <a:lnTo>
                      <a:pt x="2" y="120"/>
                    </a:lnTo>
                    <a:lnTo>
                      <a:pt x="2" y="112"/>
                    </a:lnTo>
                    <a:lnTo>
                      <a:pt x="6" y="102"/>
                    </a:lnTo>
                    <a:lnTo>
                      <a:pt x="10" y="106"/>
                    </a:lnTo>
                    <a:lnTo>
                      <a:pt x="14" y="112"/>
                    </a:lnTo>
                    <a:lnTo>
                      <a:pt x="24" y="114"/>
                    </a:lnTo>
                    <a:lnTo>
                      <a:pt x="26" y="120"/>
                    </a:lnTo>
                    <a:lnTo>
                      <a:pt x="36" y="122"/>
                    </a:lnTo>
                    <a:lnTo>
                      <a:pt x="38" y="116"/>
                    </a:lnTo>
                    <a:lnTo>
                      <a:pt x="38" y="108"/>
                    </a:lnTo>
                    <a:lnTo>
                      <a:pt x="42" y="102"/>
                    </a:lnTo>
                    <a:lnTo>
                      <a:pt x="44" y="96"/>
                    </a:lnTo>
                    <a:lnTo>
                      <a:pt x="52" y="94"/>
                    </a:lnTo>
                    <a:lnTo>
                      <a:pt x="58" y="100"/>
                    </a:lnTo>
                    <a:lnTo>
                      <a:pt x="56" y="106"/>
                    </a:lnTo>
                    <a:lnTo>
                      <a:pt x="65" y="112"/>
                    </a:lnTo>
                    <a:lnTo>
                      <a:pt x="69" y="104"/>
                    </a:lnTo>
                    <a:lnTo>
                      <a:pt x="65" y="94"/>
                    </a:lnTo>
                    <a:lnTo>
                      <a:pt x="62" y="84"/>
                    </a:lnTo>
                    <a:lnTo>
                      <a:pt x="65" y="74"/>
                    </a:lnTo>
                    <a:lnTo>
                      <a:pt x="62" y="70"/>
                    </a:lnTo>
                    <a:lnTo>
                      <a:pt x="50" y="70"/>
                    </a:lnTo>
                    <a:lnTo>
                      <a:pt x="42" y="74"/>
                    </a:lnTo>
                    <a:lnTo>
                      <a:pt x="34" y="78"/>
                    </a:lnTo>
                    <a:lnTo>
                      <a:pt x="30" y="84"/>
                    </a:lnTo>
                    <a:lnTo>
                      <a:pt x="30" y="90"/>
                    </a:lnTo>
                    <a:lnTo>
                      <a:pt x="24" y="90"/>
                    </a:lnTo>
                    <a:lnTo>
                      <a:pt x="24" y="98"/>
                    </a:lnTo>
                    <a:lnTo>
                      <a:pt x="22" y="104"/>
                    </a:lnTo>
                    <a:lnTo>
                      <a:pt x="16" y="102"/>
                    </a:lnTo>
                    <a:lnTo>
                      <a:pt x="10" y="94"/>
                    </a:lnTo>
                    <a:lnTo>
                      <a:pt x="16" y="80"/>
                    </a:lnTo>
                    <a:lnTo>
                      <a:pt x="24" y="68"/>
                    </a:lnTo>
                    <a:lnTo>
                      <a:pt x="32" y="62"/>
                    </a:lnTo>
                    <a:lnTo>
                      <a:pt x="48" y="60"/>
                    </a:lnTo>
                    <a:lnTo>
                      <a:pt x="52" y="58"/>
                    </a:lnTo>
                    <a:lnTo>
                      <a:pt x="71" y="60"/>
                    </a:lnTo>
                    <a:lnTo>
                      <a:pt x="83" y="46"/>
                    </a:lnTo>
                    <a:lnTo>
                      <a:pt x="93" y="28"/>
                    </a:lnTo>
                    <a:lnTo>
                      <a:pt x="101" y="16"/>
                    </a:lnTo>
                    <a:lnTo>
                      <a:pt x="113" y="14"/>
                    </a:lnTo>
                    <a:lnTo>
                      <a:pt x="121" y="10"/>
                    </a:lnTo>
                    <a:lnTo>
                      <a:pt x="127" y="4"/>
                    </a:lnTo>
                    <a:lnTo>
                      <a:pt x="133" y="0"/>
                    </a:lnTo>
                    <a:lnTo>
                      <a:pt x="135" y="0"/>
                    </a:lnTo>
                    <a:lnTo>
                      <a:pt x="135" y="6"/>
                    </a:lnTo>
                    <a:lnTo>
                      <a:pt x="127" y="16"/>
                    </a:lnTo>
                    <a:lnTo>
                      <a:pt x="129" y="22"/>
                    </a:lnTo>
                    <a:lnTo>
                      <a:pt x="133" y="30"/>
                    </a:lnTo>
                    <a:lnTo>
                      <a:pt x="133" y="50"/>
                    </a:lnTo>
                    <a:lnTo>
                      <a:pt x="129" y="56"/>
                    </a:lnTo>
                    <a:lnTo>
                      <a:pt x="127" y="64"/>
                    </a:lnTo>
                    <a:lnTo>
                      <a:pt x="125" y="70"/>
                    </a:lnTo>
                    <a:lnTo>
                      <a:pt x="119" y="74"/>
                    </a:lnTo>
                    <a:lnTo>
                      <a:pt x="113" y="70"/>
                    </a:lnTo>
                    <a:lnTo>
                      <a:pt x="119" y="78"/>
                    </a:lnTo>
                    <a:lnTo>
                      <a:pt x="121" y="84"/>
                    </a:lnTo>
                    <a:lnTo>
                      <a:pt x="121" y="94"/>
                    </a:lnTo>
                    <a:lnTo>
                      <a:pt x="121" y="102"/>
                    </a:lnTo>
                    <a:lnTo>
                      <a:pt x="115" y="104"/>
                    </a:lnTo>
                    <a:lnTo>
                      <a:pt x="125" y="104"/>
                    </a:lnTo>
                    <a:lnTo>
                      <a:pt x="125" y="110"/>
                    </a:lnTo>
                    <a:lnTo>
                      <a:pt x="119" y="114"/>
                    </a:lnTo>
                    <a:lnTo>
                      <a:pt x="119" y="116"/>
                    </a:lnTo>
                    <a:lnTo>
                      <a:pt x="125" y="114"/>
                    </a:lnTo>
                    <a:lnTo>
                      <a:pt x="129" y="118"/>
                    </a:lnTo>
                    <a:lnTo>
                      <a:pt x="135" y="118"/>
                    </a:lnTo>
                    <a:lnTo>
                      <a:pt x="147" y="118"/>
                    </a:lnTo>
                    <a:lnTo>
                      <a:pt x="149" y="118"/>
                    </a:lnTo>
                    <a:lnTo>
                      <a:pt x="153" y="120"/>
                    </a:lnTo>
                    <a:lnTo>
                      <a:pt x="157" y="132"/>
                    </a:lnTo>
                    <a:lnTo>
                      <a:pt x="157" y="136"/>
                    </a:lnTo>
                    <a:lnTo>
                      <a:pt x="149" y="144"/>
                    </a:lnTo>
                    <a:lnTo>
                      <a:pt x="145" y="150"/>
                    </a:lnTo>
                    <a:lnTo>
                      <a:pt x="141" y="154"/>
                    </a:lnTo>
                    <a:lnTo>
                      <a:pt x="135" y="158"/>
                    </a:lnTo>
                    <a:lnTo>
                      <a:pt x="135" y="152"/>
                    </a:lnTo>
                    <a:lnTo>
                      <a:pt x="131" y="150"/>
                    </a:lnTo>
                    <a:lnTo>
                      <a:pt x="129" y="156"/>
                    </a:lnTo>
                    <a:lnTo>
                      <a:pt x="123" y="152"/>
                    </a:lnTo>
                    <a:lnTo>
                      <a:pt x="119" y="150"/>
                    </a:lnTo>
                    <a:lnTo>
                      <a:pt x="117" y="158"/>
                    </a:lnTo>
                    <a:lnTo>
                      <a:pt x="119" y="170"/>
                    </a:lnTo>
                    <a:lnTo>
                      <a:pt x="119" y="178"/>
                    </a:lnTo>
                    <a:lnTo>
                      <a:pt x="117" y="184"/>
                    </a:lnTo>
                    <a:lnTo>
                      <a:pt x="113" y="184"/>
                    </a:lnTo>
                    <a:lnTo>
                      <a:pt x="109" y="180"/>
                    </a:lnTo>
                    <a:lnTo>
                      <a:pt x="105" y="184"/>
                    </a:lnTo>
                    <a:lnTo>
                      <a:pt x="107" y="190"/>
                    </a:lnTo>
                    <a:lnTo>
                      <a:pt x="107" y="198"/>
                    </a:lnTo>
                    <a:lnTo>
                      <a:pt x="99" y="202"/>
                    </a:lnTo>
                    <a:lnTo>
                      <a:pt x="97" y="206"/>
                    </a:lnTo>
                    <a:lnTo>
                      <a:pt x="95" y="210"/>
                    </a:lnTo>
                    <a:lnTo>
                      <a:pt x="97" y="214"/>
                    </a:lnTo>
                    <a:lnTo>
                      <a:pt x="93" y="218"/>
                    </a:lnTo>
                    <a:lnTo>
                      <a:pt x="85" y="216"/>
                    </a:lnTo>
                    <a:lnTo>
                      <a:pt x="83" y="222"/>
                    </a:lnTo>
                    <a:lnTo>
                      <a:pt x="83" y="232"/>
                    </a:lnTo>
                    <a:lnTo>
                      <a:pt x="87" y="238"/>
                    </a:lnTo>
                    <a:lnTo>
                      <a:pt x="87" y="244"/>
                    </a:lnTo>
                    <a:lnTo>
                      <a:pt x="83" y="250"/>
                    </a:lnTo>
                    <a:lnTo>
                      <a:pt x="79" y="252"/>
                    </a:lnTo>
                    <a:lnTo>
                      <a:pt x="81" y="262"/>
                    </a:lnTo>
                    <a:lnTo>
                      <a:pt x="85" y="264"/>
                    </a:lnTo>
                    <a:lnTo>
                      <a:pt x="91" y="260"/>
                    </a:lnTo>
                    <a:lnTo>
                      <a:pt x="99" y="262"/>
                    </a:lnTo>
                    <a:lnTo>
                      <a:pt x="103" y="266"/>
                    </a:lnTo>
                    <a:lnTo>
                      <a:pt x="109" y="276"/>
                    </a:lnTo>
                    <a:lnTo>
                      <a:pt x="109" y="280"/>
                    </a:lnTo>
                    <a:lnTo>
                      <a:pt x="105" y="288"/>
                    </a:lnTo>
                    <a:lnTo>
                      <a:pt x="101" y="286"/>
                    </a:lnTo>
                    <a:lnTo>
                      <a:pt x="91" y="284"/>
                    </a:lnTo>
                    <a:lnTo>
                      <a:pt x="81" y="276"/>
                    </a:lnTo>
                    <a:lnTo>
                      <a:pt x="75" y="286"/>
                    </a:lnTo>
                    <a:lnTo>
                      <a:pt x="65" y="286"/>
                    </a:lnTo>
                    <a:lnTo>
                      <a:pt x="56" y="278"/>
                    </a:lnTo>
                    <a:lnTo>
                      <a:pt x="44" y="276"/>
                    </a:lnTo>
                    <a:lnTo>
                      <a:pt x="28" y="27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1" name="Freeform 95"/>
              <p:cNvSpPr>
                <a:spLocks/>
              </p:cNvSpPr>
              <p:nvPr/>
            </p:nvSpPr>
            <p:spPr bwMode="gray">
              <a:xfrm>
                <a:off x="3358" y="1919"/>
                <a:ext cx="62" cy="63"/>
              </a:xfrm>
              <a:custGeom>
                <a:avLst/>
                <a:gdLst>
                  <a:gd name="T0" fmla="*/ 2 w 56"/>
                  <a:gd name="T1" fmla="*/ 16 h 58"/>
                  <a:gd name="T2" fmla="*/ 8 w 56"/>
                  <a:gd name="T3" fmla="*/ 14 h 58"/>
                  <a:gd name="T4" fmla="*/ 14 w 56"/>
                  <a:gd name="T5" fmla="*/ 10 h 58"/>
                  <a:gd name="T6" fmla="*/ 18 w 56"/>
                  <a:gd name="T7" fmla="*/ 6 h 58"/>
                  <a:gd name="T8" fmla="*/ 20 w 56"/>
                  <a:gd name="T9" fmla="*/ 2 h 58"/>
                  <a:gd name="T10" fmla="*/ 22 w 56"/>
                  <a:gd name="T11" fmla="*/ 0 h 58"/>
                  <a:gd name="T12" fmla="*/ 30 w 56"/>
                  <a:gd name="T13" fmla="*/ 2 h 58"/>
                  <a:gd name="T14" fmla="*/ 34 w 56"/>
                  <a:gd name="T15" fmla="*/ 6 h 58"/>
                  <a:gd name="T16" fmla="*/ 38 w 56"/>
                  <a:gd name="T17" fmla="*/ 8 h 58"/>
                  <a:gd name="T18" fmla="*/ 40 w 56"/>
                  <a:gd name="T19" fmla="*/ 2 h 58"/>
                  <a:gd name="T20" fmla="*/ 50 w 56"/>
                  <a:gd name="T21" fmla="*/ 6 h 58"/>
                  <a:gd name="T22" fmla="*/ 50 w 56"/>
                  <a:gd name="T23" fmla="*/ 10 h 58"/>
                  <a:gd name="T24" fmla="*/ 50 w 56"/>
                  <a:gd name="T25" fmla="*/ 16 h 58"/>
                  <a:gd name="T26" fmla="*/ 56 w 56"/>
                  <a:gd name="T27" fmla="*/ 26 h 58"/>
                  <a:gd name="T28" fmla="*/ 56 w 56"/>
                  <a:gd name="T29" fmla="*/ 34 h 58"/>
                  <a:gd name="T30" fmla="*/ 56 w 56"/>
                  <a:gd name="T31" fmla="*/ 46 h 58"/>
                  <a:gd name="T32" fmla="*/ 52 w 56"/>
                  <a:gd name="T33" fmla="*/ 52 h 58"/>
                  <a:gd name="T34" fmla="*/ 42 w 56"/>
                  <a:gd name="T35" fmla="*/ 58 h 58"/>
                  <a:gd name="T36" fmla="*/ 32 w 56"/>
                  <a:gd name="T37" fmla="*/ 56 h 58"/>
                  <a:gd name="T38" fmla="*/ 24 w 56"/>
                  <a:gd name="T39" fmla="*/ 52 h 58"/>
                  <a:gd name="T40" fmla="*/ 22 w 56"/>
                  <a:gd name="T41" fmla="*/ 54 h 58"/>
                  <a:gd name="T42" fmla="*/ 20 w 56"/>
                  <a:gd name="T43" fmla="*/ 52 h 58"/>
                  <a:gd name="T44" fmla="*/ 18 w 56"/>
                  <a:gd name="T45" fmla="*/ 44 h 58"/>
                  <a:gd name="T46" fmla="*/ 12 w 56"/>
                  <a:gd name="T47" fmla="*/ 44 h 58"/>
                  <a:gd name="T48" fmla="*/ 4 w 56"/>
                  <a:gd name="T49" fmla="*/ 34 h 58"/>
                  <a:gd name="T50" fmla="*/ 2 w 56"/>
                  <a:gd name="T51" fmla="*/ 24 h 58"/>
                  <a:gd name="T52" fmla="*/ 0 w 56"/>
                  <a:gd name="T53" fmla="*/ 18 h 58"/>
                  <a:gd name="T54" fmla="*/ 2 w 56"/>
                  <a:gd name="T55" fmla="*/ 1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58">
                    <a:moveTo>
                      <a:pt x="2" y="16"/>
                    </a:moveTo>
                    <a:lnTo>
                      <a:pt x="8" y="14"/>
                    </a:lnTo>
                    <a:lnTo>
                      <a:pt x="14" y="10"/>
                    </a:lnTo>
                    <a:lnTo>
                      <a:pt x="18" y="6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30" y="2"/>
                    </a:lnTo>
                    <a:lnTo>
                      <a:pt x="34" y="6"/>
                    </a:lnTo>
                    <a:lnTo>
                      <a:pt x="38" y="8"/>
                    </a:lnTo>
                    <a:lnTo>
                      <a:pt x="40" y="2"/>
                    </a:lnTo>
                    <a:lnTo>
                      <a:pt x="50" y="6"/>
                    </a:lnTo>
                    <a:lnTo>
                      <a:pt x="50" y="10"/>
                    </a:lnTo>
                    <a:lnTo>
                      <a:pt x="50" y="16"/>
                    </a:lnTo>
                    <a:lnTo>
                      <a:pt x="56" y="26"/>
                    </a:lnTo>
                    <a:lnTo>
                      <a:pt x="56" y="34"/>
                    </a:lnTo>
                    <a:lnTo>
                      <a:pt x="56" y="46"/>
                    </a:lnTo>
                    <a:lnTo>
                      <a:pt x="52" y="52"/>
                    </a:lnTo>
                    <a:lnTo>
                      <a:pt x="42" y="58"/>
                    </a:lnTo>
                    <a:lnTo>
                      <a:pt x="32" y="56"/>
                    </a:lnTo>
                    <a:lnTo>
                      <a:pt x="24" y="52"/>
                    </a:lnTo>
                    <a:lnTo>
                      <a:pt x="22" y="54"/>
                    </a:lnTo>
                    <a:lnTo>
                      <a:pt x="20" y="52"/>
                    </a:lnTo>
                    <a:lnTo>
                      <a:pt x="18" y="44"/>
                    </a:lnTo>
                    <a:lnTo>
                      <a:pt x="12" y="44"/>
                    </a:lnTo>
                    <a:lnTo>
                      <a:pt x="4" y="34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2" name="Freeform 96"/>
              <p:cNvSpPr>
                <a:spLocks/>
              </p:cNvSpPr>
              <p:nvPr/>
            </p:nvSpPr>
            <p:spPr bwMode="gray">
              <a:xfrm>
                <a:off x="3409" y="1971"/>
                <a:ext cx="19" cy="42"/>
              </a:xfrm>
              <a:custGeom>
                <a:avLst/>
                <a:gdLst>
                  <a:gd name="T0" fmla="*/ 4 w 18"/>
                  <a:gd name="T1" fmla="*/ 18 h 38"/>
                  <a:gd name="T2" fmla="*/ 10 w 18"/>
                  <a:gd name="T3" fmla="*/ 12 h 38"/>
                  <a:gd name="T4" fmla="*/ 10 w 18"/>
                  <a:gd name="T5" fmla="*/ 4 h 38"/>
                  <a:gd name="T6" fmla="*/ 16 w 18"/>
                  <a:gd name="T7" fmla="*/ 0 h 38"/>
                  <a:gd name="T8" fmla="*/ 18 w 18"/>
                  <a:gd name="T9" fmla="*/ 6 h 38"/>
                  <a:gd name="T10" fmla="*/ 16 w 18"/>
                  <a:gd name="T11" fmla="*/ 14 h 38"/>
                  <a:gd name="T12" fmla="*/ 14 w 18"/>
                  <a:gd name="T13" fmla="*/ 18 h 38"/>
                  <a:gd name="T14" fmla="*/ 10 w 18"/>
                  <a:gd name="T15" fmla="*/ 24 h 38"/>
                  <a:gd name="T16" fmla="*/ 10 w 18"/>
                  <a:gd name="T17" fmla="*/ 34 h 38"/>
                  <a:gd name="T18" fmla="*/ 6 w 18"/>
                  <a:gd name="T19" fmla="*/ 38 h 38"/>
                  <a:gd name="T20" fmla="*/ 0 w 18"/>
                  <a:gd name="T21" fmla="*/ 36 h 38"/>
                  <a:gd name="T22" fmla="*/ 0 w 18"/>
                  <a:gd name="T23" fmla="*/ 28 h 38"/>
                  <a:gd name="T24" fmla="*/ 4 w 18"/>
                  <a:gd name="T25" fmla="*/ 22 h 38"/>
                  <a:gd name="T26" fmla="*/ 4 w 18"/>
                  <a:gd name="T27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38">
                    <a:moveTo>
                      <a:pt x="4" y="18"/>
                    </a:moveTo>
                    <a:lnTo>
                      <a:pt x="10" y="12"/>
                    </a:lnTo>
                    <a:lnTo>
                      <a:pt x="10" y="4"/>
                    </a:lnTo>
                    <a:lnTo>
                      <a:pt x="16" y="0"/>
                    </a:lnTo>
                    <a:lnTo>
                      <a:pt x="18" y="6"/>
                    </a:lnTo>
                    <a:lnTo>
                      <a:pt x="16" y="14"/>
                    </a:lnTo>
                    <a:lnTo>
                      <a:pt x="14" y="18"/>
                    </a:lnTo>
                    <a:lnTo>
                      <a:pt x="10" y="24"/>
                    </a:lnTo>
                    <a:lnTo>
                      <a:pt x="10" y="34"/>
                    </a:lnTo>
                    <a:lnTo>
                      <a:pt x="6" y="38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4" y="22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3" name="Freeform 97"/>
              <p:cNvSpPr>
                <a:spLocks/>
              </p:cNvSpPr>
              <p:nvPr/>
            </p:nvSpPr>
            <p:spPr bwMode="gray">
              <a:xfrm>
                <a:off x="3428" y="1861"/>
                <a:ext cx="103" cy="165"/>
              </a:xfrm>
              <a:custGeom>
                <a:avLst/>
                <a:gdLst>
                  <a:gd name="T0" fmla="*/ 16 w 94"/>
                  <a:gd name="T1" fmla="*/ 116 h 150"/>
                  <a:gd name="T2" fmla="*/ 34 w 94"/>
                  <a:gd name="T3" fmla="*/ 128 h 150"/>
                  <a:gd name="T4" fmla="*/ 46 w 94"/>
                  <a:gd name="T5" fmla="*/ 114 h 150"/>
                  <a:gd name="T6" fmla="*/ 44 w 94"/>
                  <a:gd name="T7" fmla="*/ 106 h 150"/>
                  <a:gd name="T8" fmla="*/ 42 w 94"/>
                  <a:gd name="T9" fmla="*/ 94 h 150"/>
                  <a:gd name="T10" fmla="*/ 28 w 94"/>
                  <a:gd name="T11" fmla="*/ 92 h 150"/>
                  <a:gd name="T12" fmla="*/ 16 w 94"/>
                  <a:gd name="T13" fmla="*/ 86 h 150"/>
                  <a:gd name="T14" fmla="*/ 10 w 94"/>
                  <a:gd name="T15" fmla="*/ 72 h 150"/>
                  <a:gd name="T16" fmla="*/ 2 w 94"/>
                  <a:gd name="T17" fmla="*/ 68 h 150"/>
                  <a:gd name="T18" fmla="*/ 6 w 94"/>
                  <a:gd name="T19" fmla="*/ 52 h 150"/>
                  <a:gd name="T20" fmla="*/ 20 w 94"/>
                  <a:gd name="T21" fmla="*/ 36 h 150"/>
                  <a:gd name="T22" fmla="*/ 32 w 94"/>
                  <a:gd name="T23" fmla="*/ 28 h 150"/>
                  <a:gd name="T24" fmla="*/ 40 w 94"/>
                  <a:gd name="T25" fmla="*/ 38 h 150"/>
                  <a:gd name="T26" fmla="*/ 58 w 94"/>
                  <a:gd name="T27" fmla="*/ 40 h 150"/>
                  <a:gd name="T28" fmla="*/ 52 w 94"/>
                  <a:gd name="T29" fmla="*/ 22 h 150"/>
                  <a:gd name="T30" fmla="*/ 56 w 94"/>
                  <a:gd name="T31" fmla="*/ 10 h 150"/>
                  <a:gd name="T32" fmla="*/ 70 w 94"/>
                  <a:gd name="T33" fmla="*/ 0 h 150"/>
                  <a:gd name="T34" fmla="*/ 88 w 94"/>
                  <a:gd name="T35" fmla="*/ 6 h 150"/>
                  <a:gd name="T36" fmla="*/ 86 w 94"/>
                  <a:gd name="T37" fmla="*/ 26 h 150"/>
                  <a:gd name="T38" fmla="*/ 92 w 94"/>
                  <a:gd name="T39" fmla="*/ 38 h 150"/>
                  <a:gd name="T40" fmla="*/ 86 w 94"/>
                  <a:gd name="T41" fmla="*/ 52 h 150"/>
                  <a:gd name="T42" fmla="*/ 68 w 94"/>
                  <a:gd name="T43" fmla="*/ 58 h 150"/>
                  <a:gd name="T44" fmla="*/ 70 w 94"/>
                  <a:gd name="T45" fmla="*/ 70 h 150"/>
                  <a:gd name="T46" fmla="*/ 82 w 94"/>
                  <a:gd name="T47" fmla="*/ 74 h 150"/>
                  <a:gd name="T48" fmla="*/ 78 w 94"/>
                  <a:gd name="T49" fmla="*/ 86 h 150"/>
                  <a:gd name="T50" fmla="*/ 64 w 94"/>
                  <a:gd name="T51" fmla="*/ 98 h 150"/>
                  <a:gd name="T52" fmla="*/ 80 w 94"/>
                  <a:gd name="T53" fmla="*/ 108 h 150"/>
                  <a:gd name="T54" fmla="*/ 90 w 94"/>
                  <a:gd name="T55" fmla="*/ 114 h 150"/>
                  <a:gd name="T56" fmla="*/ 74 w 94"/>
                  <a:gd name="T57" fmla="*/ 118 h 150"/>
                  <a:gd name="T58" fmla="*/ 66 w 94"/>
                  <a:gd name="T59" fmla="*/ 130 h 150"/>
                  <a:gd name="T60" fmla="*/ 58 w 94"/>
                  <a:gd name="T61" fmla="*/ 140 h 150"/>
                  <a:gd name="T62" fmla="*/ 52 w 94"/>
                  <a:gd name="T63" fmla="*/ 144 h 150"/>
                  <a:gd name="T64" fmla="*/ 48 w 94"/>
                  <a:gd name="T65" fmla="*/ 146 h 150"/>
                  <a:gd name="T66" fmla="*/ 44 w 94"/>
                  <a:gd name="T67" fmla="*/ 148 h 150"/>
                  <a:gd name="T68" fmla="*/ 32 w 94"/>
                  <a:gd name="T69" fmla="*/ 146 h 150"/>
                  <a:gd name="T70" fmla="*/ 18 w 94"/>
                  <a:gd name="T71" fmla="*/ 140 h 150"/>
                  <a:gd name="T72" fmla="*/ 6 w 94"/>
                  <a:gd name="T73" fmla="*/ 134 h 150"/>
                  <a:gd name="T74" fmla="*/ 6 w 94"/>
                  <a:gd name="T75" fmla="*/ 12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4" h="150">
                    <a:moveTo>
                      <a:pt x="10" y="118"/>
                    </a:moveTo>
                    <a:lnTo>
                      <a:pt x="16" y="116"/>
                    </a:lnTo>
                    <a:lnTo>
                      <a:pt x="24" y="124"/>
                    </a:lnTo>
                    <a:lnTo>
                      <a:pt x="34" y="128"/>
                    </a:lnTo>
                    <a:lnTo>
                      <a:pt x="42" y="120"/>
                    </a:lnTo>
                    <a:lnTo>
                      <a:pt x="46" y="114"/>
                    </a:lnTo>
                    <a:lnTo>
                      <a:pt x="52" y="112"/>
                    </a:lnTo>
                    <a:lnTo>
                      <a:pt x="44" y="106"/>
                    </a:lnTo>
                    <a:lnTo>
                      <a:pt x="42" y="102"/>
                    </a:lnTo>
                    <a:lnTo>
                      <a:pt x="42" y="94"/>
                    </a:lnTo>
                    <a:lnTo>
                      <a:pt x="36" y="92"/>
                    </a:lnTo>
                    <a:lnTo>
                      <a:pt x="28" y="92"/>
                    </a:lnTo>
                    <a:lnTo>
                      <a:pt x="18" y="94"/>
                    </a:lnTo>
                    <a:lnTo>
                      <a:pt x="16" y="86"/>
                    </a:lnTo>
                    <a:lnTo>
                      <a:pt x="12" y="80"/>
                    </a:lnTo>
                    <a:lnTo>
                      <a:pt x="10" y="72"/>
                    </a:lnTo>
                    <a:lnTo>
                      <a:pt x="6" y="68"/>
                    </a:lnTo>
                    <a:lnTo>
                      <a:pt x="2" y="68"/>
                    </a:lnTo>
                    <a:lnTo>
                      <a:pt x="0" y="62"/>
                    </a:lnTo>
                    <a:lnTo>
                      <a:pt x="6" y="52"/>
                    </a:lnTo>
                    <a:lnTo>
                      <a:pt x="12" y="44"/>
                    </a:lnTo>
                    <a:lnTo>
                      <a:pt x="20" y="36"/>
                    </a:lnTo>
                    <a:lnTo>
                      <a:pt x="26" y="26"/>
                    </a:lnTo>
                    <a:lnTo>
                      <a:pt x="32" y="28"/>
                    </a:lnTo>
                    <a:lnTo>
                      <a:pt x="38" y="32"/>
                    </a:lnTo>
                    <a:lnTo>
                      <a:pt x="40" y="38"/>
                    </a:lnTo>
                    <a:lnTo>
                      <a:pt x="46" y="42"/>
                    </a:lnTo>
                    <a:lnTo>
                      <a:pt x="58" y="40"/>
                    </a:lnTo>
                    <a:lnTo>
                      <a:pt x="58" y="30"/>
                    </a:lnTo>
                    <a:lnTo>
                      <a:pt x="52" y="22"/>
                    </a:lnTo>
                    <a:lnTo>
                      <a:pt x="50" y="14"/>
                    </a:lnTo>
                    <a:lnTo>
                      <a:pt x="56" y="10"/>
                    </a:lnTo>
                    <a:lnTo>
                      <a:pt x="62" y="2"/>
                    </a:lnTo>
                    <a:lnTo>
                      <a:pt x="70" y="0"/>
                    </a:lnTo>
                    <a:lnTo>
                      <a:pt x="80" y="4"/>
                    </a:lnTo>
                    <a:lnTo>
                      <a:pt x="88" y="6"/>
                    </a:lnTo>
                    <a:lnTo>
                      <a:pt x="86" y="16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2" y="38"/>
                    </a:lnTo>
                    <a:lnTo>
                      <a:pt x="94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68" y="58"/>
                    </a:lnTo>
                    <a:lnTo>
                      <a:pt x="66" y="64"/>
                    </a:lnTo>
                    <a:lnTo>
                      <a:pt x="70" y="70"/>
                    </a:lnTo>
                    <a:lnTo>
                      <a:pt x="76" y="70"/>
                    </a:lnTo>
                    <a:lnTo>
                      <a:pt x="82" y="74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64" y="92"/>
                    </a:lnTo>
                    <a:lnTo>
                      <a:pt x="64" y="98"/>
                    </a:lnTo>
                    <a:lnTo>
                      <a:pt x="70" y="108"/>
                    </a:lnTo>
                    <a:lnTo>
                      <a:pt x="80" y="108"/>
                    </a:lnTo>
                    <a:lnTo>
                      <a:pt x="88" y="108"/>
                    </a:lnTo>
                    <a:lnTo>
                      <a:pt x="90" y="114"/>
                    </a:lnTo>
                    <a:lnTo>
                      <a:pt x="82" y="116"/>
                    </a:lnTo>
                    <a:lnTo>
                      <a:pt x="74" y="118"/>
                    </a:lnTo>
                    <a:lnTo>
                      <a:pt x="68" y="122"/>
                    </a:lnTo>
                    <a:lnTo>
                      <a:pt x="66" y="130"/>
                    </a:lnTo>
                    <a:lnTo>
                      <a:pt x="62" y="134"/>
                    </a:lnTo>
                    <a:lnTo>
                      <a:pt x="58" y="140"/>
                    </a:lnTo>
                    <a:lnTo>
                      <a:pt x="58" y="150"/>
                    </a:lnTo>
                    <a:lnTo>
                      <a:pt x="52" y="144"/>
                    </a:lnTo>
                    <a:lnTo>
                      <a:pt x="48" y="144"/>
                    </a:lnTo>
                    <a:lnTo>
                      <a:pt x="48" y="146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36" y="144"/>
                    </a:lnTo>
                    <a:lnTo>
                      <a:pt x="32" y="146"/>
                    </a:lnTo>
                    <a:lnTo>
                      <a:pt x="24" y="146"/>
                    </a:lnTo>
                    <a:lnTo>
                      <a:pt x="18" y="140"/>
                    </a:lnTo>
                    <a:lnTo>
                      <a:pt x="12" y="138"/>
                    </a:lnTo>
                    <a:lnTo>
                      <a:pt x="6" y="134"/>
                    </a:lnTo>
                    <a:lnTo>
                      <a:pt x="4" y="124"/>
                    </a:lnTo>
                    <a:lnTo>
                      <a:pt x="6" y="120"/>
                    </a:lnTo>
                    <a:lnTo>
                      <a:pt x="10" y="11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4" name="Freeform 98"/>
              <p:cNvSpPr>
                <a:spLocks/>
              </p:cNvSpPr>
              <p:nvPr/>
            </p:nvSpPr>
            <p:spPr bwMode="gray">
              <a:xfrm>
                <a:off x="3566" y="2013"/>
                <a:ext cx="40" cy="50"/>
              </a:xfrm>
              <a:custGeom>
                <a:avLst/>
                <a:gdLst>
                  <a:gd name="T0" fmla="*/ 0 w 36"/>
                  <a:gd name="T1" fmla="*/ 32 h 46"/>
                  <a:gd name="T2" fmla="*/ 4 w 36"/>
                  <a:gd name="T3" fmla="*/ 28 h 46"/>
                  <a:gd name="T4" fmla="*/ 2 w 36"/>
                  <a:gd name="T5" fmla="*/ 18 h 46"/>
                  <a:gd name="T6" fmla="*/ 6 w 36"/>
                  <a:gd name="T7" fmla="*/ 16 h 46"/>
                  <a:gd name="T8" fmla="*/ 10 w 36"/>
                  <a:gd name="T9" fmla="*/ 18 h 46"/>
                  <a:gd name="T10" fmla="*/ 16 w 36"/>
                  <a:gd name="T11" fmla="*/ 20 h 46"/>
                  <a:gd name="T12" fmla="*/ 18 w 36"/>
                  <a:gd name="T13" fmla="*/ 16 h 46"/>
                  <a:gd name="T14" fmla="*/ 14 w 36"/>
                  <a:gd name="T15" fmla="*/ 12 h 46"/>
                  <a:gd name="T16" fmla="*/ 8 w 36"/>
                  <a:gd name="T17" fmla="*/ 12 h 46"/>
                  <a:gd name="T18" fmla="*/ 4 w 36"/>
                  <a:gd name="T19" fmla="*/ 10 h 46"/>
                  <a:gd name="T20" fmla="*/ 2 w 36"/>
                  <a:gd name="T21" fmla="*/ 6 h 46"/>
                  <a:gd name="T22" fmla="*/ 6 w 36"/>
                  <a:gd name="T23" fmla="*/ 2 h 46"/>
                  <a:gd name="T24" fmla="*/ 12 w 36"/>
                  <a:gd name="T25" fmla="*/ 0 h 46"/>
                  <a:gd name="T26" fmla="*/ 14 w 36"/>
                  <a:gd name="T27" fmla="*/ 2 h 46"/>
                  <a:gd name="T28" fmla="*/ 16 w 36"/>
                  <a:gd name="T29" fmla="*/ 10 h 46"/>
                  <a:gd name="T30" fmla="*/ 20 w 36"/>
                  <a:gd name="T31" fmla="*/ 12 h 46"/>
                  <a:gd name="T32" fmla="*/ 22 w 36"/>
                  <a:gd name="T33" fmla="*/ 10 h 46"/>
                  <a:gd name="T34" fmla="*/ 26 w 36"/>
                  <a:gd name="T35" fmla="*/ 10 h 46"/>
                  <a:gd name="T36" fmla="*/ 28 w 36"/>
                  <a:gd name="T37" fmla="*/ 14 h 46"/>
                  <a:gd name="T38" fmla="*/ 30 w 36"/>
                  <a:gd name="T39" fmla="*/ 16 h 46"/>
                  <a:gd name="T40" fmla="*/ 28 w 36"/>
                  <a:gd name="T41" fmla="*/ 20 h 46"/>
                  <a:gd name="T42" fmla="*/ 24 w 36"/>
                  <a:gd name="T43" fmla="*/ 24 h 46"/>
                  <a:gd name="T44" fmla="*/ 28 w 36"/>
                  <a:gd name="T45" fmla="*/ 28 h 46"/>
                  <a:gd name="T46" fmla="*/ 32 w 36"/>
                  <a:gd name="T47" fmla="*/ 30 h 46"/>
                  <a:gd name="T48" fmla="*/ 36 w 36"/>
                  <a:gd name="T49" fmla="*/ 38 h 46"/>
                  <a:gd name="T50" fmla="*/ 32 w 36"/>
                  <a:gd name="T51" fmla="*/ 40 h 46"/>
                  <a:gd name="T52" fmla="*/ 22 w 36"/>
                  <a:gd name="T53" fmla="*/ 38 h 46"/>
                  <a:gd name="T54" fmla="*/ 20 w 36"/>
                  <a:gd name="T55" fmla="*/ 36 h 46"/>
                  <a:gd name="T56" fmla="*/ 16 w 36"/>
                  <a:gd name="T57" fmla="*/ 38 h 46"/>
                  <a:gd name="T58" fmla="*/ 16 w 36"/>
                  <a:gd name="T59" fmla="*/ 44 h 46"/>
                  <a:gd name="T60" fmla="*/ 12 w 36"/>
                  <a:gd name="T61" fmla="*/ 46 h 46"/>
                  <a:gd name="T62" fmla="*/ 2 w 36"/>
                  <a:gd name="T63" fmla="*/ 42 h 46"/>
                  <a:gd name="T64" fmla="*/ 0 w 36"/>
                  <a:gd name="T65" fmla="*/ 3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" h="46">
                    <a:moveTo>
                      <a:pt x="0" y="32"/>
                    </a:moveTo>
                    <a:lnTo>
                      <a:pt x="4" y="28"/>
                    </a:lnTo>
                    <a:lnTo>
                      <a:pt x="2" y="18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8" y="12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6" y="10"/>
                    </a:lnTo>
                    <a:lnTo>
                      <a:pt x="20" y="12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8" y="14"/>
                    </a:lnTo>
                    <a:lnTo>
                      <a:pt x="30" y="16"/>
                    </a:lnTo>
                    <a:lnTo>
                      <a:pt x="28" y="20"/>
                    </a:lnTo>
                    <a:lnTo>
                      <a:pt x="24" y="24"/>
                    </a:lnTo>
                    <a:lnTo>
                      <a:pt x="28" y="28"/>
                    </a:lnTo>
                    <a:lnTo>
                      <a:pt x="32" y="30"/>
                    </a:lnTo>
                    <a:lnTo>
                      <a:pt x="36" y="38"/>
                    </a:lnTo>
                    <a:lnTo>
                      <a:pt x="32" y="40"/>
                    </a:lnTo>
                    <a:lnTo>
                      <a:pt x="22" y="38"/>
                    </a:lnTo>
                    <a:lnTo>
                      <a:pt x="20" y="36"/>
                    </a:lnTo>
                    <a:lnTo>
                      <a:pt x="16" y="38"/>
                    </a:lnTo>
                    <a:lnTo>
                      <a:pt x="16" y="44"/>
                    </a:lnTo>
                    <a:lnTo>
                      <a:pt x="12" y="46"/>
                    </a:lnTo>
                    <a:lnTo>
                      <a:pt x="2" y="42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5" name="Freeform 99"/>
              <p:cNvSpPr>
                <a:spLocks/>
              </p:cNvSpPr>
              <p:nvPr/>
            </p:nvSpPr>
            <p:spPr bwMode="gray">
              <a:xfrm>
                <a:off x="3398" y="1881"/>
                <a:ext cx="13" cy="24"/>
              </a:xfrm>
              <a:custGeom>
                <a:avLst/>
                <a:gdLst>
                  <a:gd name="T0" fmla="*/ 4 w 12"/>
                  <a:gd name="T1" fmla="*/ 0 h 22"/>
                  <a:gd name="T2" fmla="*/ 8 w 12"/>
                  <a:gd name="T3" fmla="*/ 4 h 22"/>
                  <a:gd name="T4" fmla="*/ 12 w 12"/>
                  <a:gd name="T5" fmla="*/ 8 h 22"/>
                  <a:gd name="T6" fmla="*/ 12 w 12"/>
                  <a:gd name="T7" fmla="*/ 14 h 22"/>
                  <a:gd name="T8" fmla="*/ 10 w 12"/>
                  <a:gd name="T9" fmla="*/ 20 h 22"/>
                  <a:gd name="T10" fmla="*/ 6 w 12"/>
                  <a:gd name="T11" fmla="*/ 22 h 22"/>
                  <a:gd name="T12" fmla="*/ 0 w 12"/>
                  <a:gd name="T13" fmla="*/ 18 h 22"/>
                  <a:gd name="T14" fmla="*/ 2 w 12"/>
                  <a:gd name="T15" fmla="*/ 12 h 22"/>
                  <a:gd name="T16" fmla="*/ 4 w 12"/>
                  <a:gd name="T17" fmla="*/ 8 h 22"/>
                  <a:gd name="T18" fmla="*/ 2 w 12"/>
                  <a:gd name="T19" fmla="*/ 4 h 22"/>
                  <a:gd name="T20" fmla="*/ 4 w 12"/>
                  <a:gd name="T2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2">
                    <a:moveTo>
                      <a:pt x="4" y="0"/>
                    </a:moveTo>
                    <a:lnTo>
                      <a:pt x="8" y="4"/>
                    </a:lnTo>
                    <a:lnTo>
                      <a:pt x="12" y="8"/>
                    </a:lnTo>
                    <a:lnTo>
                      <a:pt x="12" y="14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6" name="Freeform 100"/>
              <p:cNvSpPr>
                <a:spLocks/>
              </p:cNvSpPr>
              <p:nvPr/>
            </p:nvSpPr>
            <p:spPr bwMode="gray">
              <a:xfrm>
                <a:off x="3280" y="1783"/>
                <a:ext cx="20" cy="26"/>
              </a:xfrm>
              <a:custGeom>
                <a:avLst/>
                <a:gdLst>
                  <a:gd name="T0" fmla="*/ 18 w 18"/>
                  <a:gd name="T1" fmla="*/ 0 h 24"/>
                  <a:gd name="T2" fmla="*/ 18 w 18"/>
                  <a:gd name="T3" fmla="*/ 8 h 24"/>
                  <a:gd name="T4" fmla="*/ 16 w 18"/>
                  <a:gd name="T5" fmla="*/ 14 h 24"/>
                  <a:gd name="T6" fmla="*/ 8 w 18"/>
                  <a:gd name="T7" fmla="*/ 24 h 24"/>
                  <a:gd name="T8" fmla="*/ 0 w 18"/>
                  <a:gd name="T9" fmla="*/ 16 h 24"/>
                  <a:gd name="T10" fmla="*/ 6 w 18"/>
                  <a:gd name="T11" fmla="*/ 12 h 24"/>
                  <a:gd name="T12" fmla="*/ 10 w 18"/>
                  <a:gd name="T13" fmla="*/ 6 h 24"/>
                  <a:gd name="T14" fmla="*/ 10 w 18"/>
                  <a:gd name="T15" fmla="*/ 0 h 24"/>
                  <a:gd name="T16" fmla="*/ 18 w 18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4">
                    <a:moveTo>
                      <a:pt x="18" y="0"/>
                    </a:moveTo>
                    <a:lnTo>
                      <a:pt x="18" y="8"/>
                    </a:lnTo>
                    <a:lnTo>
                      <a:pt x="16" y="14"/>
                    </a:lnTo>
                    <a:lnTo>
                      <a:pt x="8" y="24"/>
                    </a:lnTo>
                    <a:lnTo>
                      <a:pt x="0" y="16"/>
                    </a:lnTo>
                    <a:lnTo>
                      <a:pt x="6" y="12"/>
                    </a:lnTo>
                    <a:lnTo>
                      <a:pt x="10" y="6"/>
                    </a:lnTo>
                    <a:lnTo>
                      <a:pt x="10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595195">
                  <a:defRPr/>
                </a:pP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27" name="Freeform 101"/>
            <p:cNvSpPr>
              <a:spLocks/>
            </p:cNvSpPr>
            <p:nvPr/>
          </p:nvSpPr>
          <p:spPr bwMode="gray">
            <a:xfrm>
              <a:off x="3642614" y="1844353"/>
              <a:ext cx="78945" cy="81607"/>
            </a:xfrm>
            <a:custGeom>
              <a:avLst/>
              <a:gdLst>
                <a:gd name="T0" fmla="*/ 12 w 72"/>
                <a:gd name="T1" fmla="*/ 0 h 78"/>
                <a:gd name="T2" fmla="*/ 28 w 72"/>
                <a:gd name="T3" fmla="*/ 0 h 78"/>
                <a:gd name="T4" fmla="*/ 44 w 72"/>
                <a:gd name="T5" fmla="*/ 0 h 78"/>
                <a:gd name="T6" fmla="*/ 46 w 72"/>
                <a:gd name="T7" fmla="*/ 2 h 78"/>
                <a:gd name="T8" fmla="*/ 58 w 72"/>
                <a:gd name="T9" fmla="*/ 2 h 78"/>
                <a:gd name="T10" fmla="*/ 66 w 72"/>
                <a:gd name="T11" fmla="*/ 6 h 78"/>
                <a:gd name="T12" fmla="*/ 72 w 72"/>
                <a:gd name="T13" fmla="*/ 12 h 78"/>
                <a:gd name="T14" fmla="*/ 72 w 72"/>
                <a:gd name="T15" fmla="*/ 18 h 78"/>
                <a:gd name="T16" fmla="*/ 70 w 72"/>
                <a:gd name="T17" fmla="*/ 20 h 78"/>
                <a:gd name="T18" fmla="*/ 68 w 72"/>
                <a:gd name="T19" fmla="*/ 18 h 78"/>
                <a:gd name="T20" fmla="*/ 64 w 72"/>
                <a:gd name="T21" fmla="*/ 16 h 78"/>
                <a:gd name="T22" fmla="*/ 62 w 72"/>
                <a:gd name="T23" fmla="*/ 22 h 78"/>
                <a:gd name="T24" fmla="*/ 64 w 72"/>
                <a:gd name="T25" fmla="*/ 30 h 78"/>
                <a:gd name="T26" fmla="*/ 64 w 72"/>
                <a:gd name="T27" fmla="*/ 38 h 78"/>
                <a:gd name="T28" fmla="*/ 64 w 72"/>
                <a:gd name="T29" fmla="*/ 50 h 78"/>
                <a:gd name="T30" fmla="*/ 60 w 72"/>
                <a:gd name="T31" fmla="*/ 54 h 78"/>
                <a:gd name="T32" fmla="*/ 54 w 72"/>
                <a:gd name="T33" fmla="*/ 64 h 78"/>
                <a:gd name="T34" fmla="*/ 42 w 72"/>
                <a:gd name="T35" fmla="*/ 76 h 78"/>
                <a:gd name="T36" fmla="*/ 36 w 72"/>
                <a:gd name="T37" fmla="*/ 78 h 78"/>
                <a:gd name="T38" fmla="*/ 26 w 72"/>
                <a:gd name="T39" fmla="*/ 76 h 78"/>
                <a:gd name="T40" fmla="*/ 16 w 72"/>
                <a:gd name="T41" fmla="*/ 70 h 78"/>
                <a:gd name="T42" fmla="*/ 10 w 72"/>
                <a:gd name="T43" fmla="*/ 62 h 78"/>
                <a:gd name="T44" fmla="*/ 8 w 72"/>
                <a:gd name="T45" fmla="*/ 56 h 78"/>
                <a:gd name="T46" fmla="*/ 6 w 72"/>
                <a:gd name="T47" fmla="*/ 46 h 78"/>
                <a:gd name="T48" fmla="*/ 0 w 72"/>
                <a:gd name="T49" fmla="*/ 40 h 78"/>
                <a:gd name="T50" fmla="*/ 0 w 72"/>
                <a:gd name="T51" fmla="*/ 18 h 78"/>
                <a:gd name="T52" fmla="*/ 2 w 72"/>
                <a:gd name="T53" fmla="*/ 10 h 78"/>
                <a:gd name="T54" fmla="*/ 8 w 72"/>
                <a:gd name="T55" fmla="*/ 6 h 78"/>
                <a:gd name="T56" fmla="*/ 12 w 72"/>
                <a:gd name="T5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2" h="78">
                  <a:moveTo>
                    <a:pt x="12" y="0"/>
                  </a:moveTo>
                  <a:lnTo>
                    <a:pt x="28" y="0"/>
                  </a:lnTo>
                  <a:lnTo>
                    <a:pt x="44" y="0"/>
                  </a:lnTo>
                  <a:lnTo>
                    <a:pt x="46" y="2"/>
                  </a:lnTo>
                  <a:lnTo>
                    <a:pt x="58" y="2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8"/>
                  </a:lnTo>
                  <a:lnTo>
                    <a:pt x="70" y="20"/>
                  </a:lnTo>
                  <a:lnTo>
                    <a:pt x="68" y="18"/>
                  </a:lnTo>
                  <a:lnTo>
                    <a:pt x="64" y="16"/>
                  </a:lnTo>
                  <a:lnTo>
                    <a:pt x="62" y="22"/>
                  </a:lnTo>
                  <a:lnTo>
                    <a:pt x="64" y="30"/>
                  </a:lnTo>
                  <a:lnTo>
                    <a:pt x="64" y="38"/>
                  </a:lnTo>
                  <a:lnTo>
                    <a:pt x="64" y="50"/>
                  </a:lnTo>
                  <a:lnTo>
                    <a:pt x="60" y="54"/>
                  </a:lnTo>
                  <a:lnTo>
                    <a:pt x="54" y="64"/>
                  </a:lnTo>
                  <a:lnTo>
                    <a:pt x="42" y="76"/>
                  </a:lnTo>
                  <a:lnTo>
                    <a:pt x="36" y="78"/>
                  </a:lnTo>
                  <a:lnTo>
                    <a:pt x="26" y="76"/>
                  </a:lnTo>
                  <a:lnTo>
                    <a:pt x="16" y="70"/>
                  </a:lnTo>
                  <a:lnTo>
                    <a:pt x="10" y="62"/>
                  </a:lnTo>
                  <a:lnTo>
                    <a:pt x="8" y="56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8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FBFBF">
                <a:alpha val="34000"/>
              </a:srgbClr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8" name="Freeform 106"/>
            <p:cNvSpPr>
              <a:spLocks/>
            </p:cNvSpPr>
            <p:nvPr/>
          </p:nvSpPr>
          <p:spPr bwMode="gray">
            <a:xfrm>
              <a:off x="1216818" y="3364280"/>
              <a:ext cx="40142" cy="52175"/>
            </a:xfrm>
            <a:custGeom>
              <a:avLst/>
              <a:gdLst>
                <a:gd name="T0" fmla="*/ 0 w 36"/>
                <a:gd name="T1" fmla="*/ 16 h 50"/>
                <a:gd name="T2" fmla="*/ 10 w 36"/>
                <a:gd name="T3" fmla="*/ 16 h 50"/>
                <a:gd name="T4" fmla="*/ 8 w 36"/>
                <a:gd name="T5" fmla="*/ 10 h 50"/>
                <a:gd name="T6" fmla="*/ 10 w 36"/>
                <a:gd name="T7" fmla="*/ 4 h 50"/>
                <a:gd name="T8" fmla="*/ 14 w 36"/>
                <a:gd name="T9" fmla="*/ 6 h 50"/>
                <a:gd name="T10" fmla="*/ 16 w 36"/>
                <a:gd name="T11" fmla="*/ 12 h 50"/>
                <a:gd name="T12" fmla="*/ 20 w 36"/>
                <a:gd name="T13" fmla="*/ 16 h 50"/>
                <a:gd name="T14" fmla="*/ 24 w 36"/>
                <a:gd name="T15" fmla="*/ 10 h 50"/>
                <a:gd name="T16" fmla="*/ 22 w 36"/>
                <a:gd name="T17" fmla="*/ 4 h 50"/>
                <a:gd name="T18" fmla="*/ 28 w 36"/>
                <a:gd name="T19" fmla="*/ 0 h 50"/>
                <a:gd name="T20" fmla="*/ 32 w 36"/>
                <a:gd name="T21" fmla="*/ 4 h 50"/>
                <a:gd name="T22" fmla="*/ 34 w 36"/>
                <a:gd name="T23" fmla="*/ 12 h 50"/>
                <a:gd name="T24" fmla="*/ 34 w 36"/>
                <a:gd name="T25" fmla="*/ 18 h 50"/>
                <a:gd name="T26" fmla="*/ 30 w 36"/>
                <a:gd name="T27" fmla="*/ 24 h 50"/>
                <a:gd name="T28" fmla="*/ 36 w 36"/>
                <a:gd name="T29" fmla="*/ 28 h 50"/>
                <a:gd name="T30" fmla="*/ 34 w 36"/>
                <a:gd name="T31" fmla="*/ 34 h 50"/>
                <a:gd name="T32" fmla="*/ 30 w 36"/>
                <a:gd name="T33" fmla="*/ 38 h 50"/>
                <a:gd name="T34" fmla="*/ 36 w 36"/>
                <a:gd name="T35" fmla="*/ 40 h 50"/>
                <a:gd name="T36" fmla="*/ 36 w 36"/>
                <a:gd name="T37" fmla="*/ 44 h 50"/>
                <a:gd name="T38" fmla="*/ 34 w 36"/>
                <a:gd name="T39" fmla="*/ 50 h 50"/>
                <a:gd name="T40" fmla="*/ 26 w 36"/>
                <a:gd name="T41" fmla="*/ 50 h 50"/>
                <a:gd name="T42" fmla="*/ 22 w 36"/>
                <a:gd name="T43" fmla="*/ 48 h 50"/>
                <a:gd name="T44" fmla="*/ 18 w 36"/>
                <a:gd name="T45" fmla="*/ 50 h 50"/>
                <a:gd name="T46" fmla="*/ 12 w 36"/>
                <a:gd name="T47" fmla="*/ 44 h 50"/>
                <a:gd name="T48" fmla="*/ 12 w 36"/>
                <a:gd name="T49" fmla="*/ 38 h 50"/>
                <a:gd name="T50" fmla="*/ 16 w 36"/>
                <a:gd name="T51" fmla="*/ 30 h 50"/>
                <a:gd name="T52" fmla="*/ 12 w 36"/>
                <a:gd name="T53" fmla="*/ 24 h 50"/>
                <a:gd name="T54" fmla="*/ 8 w 36"/>
                <a:gd name="T55" fmla="*/ 28 h 50"/>
                <a:gd name="T56" fmla="*/ 2 w 36"/>
                <a:gd name="T57" fmla="*/ 24 h 50"/>
                <a:gd name="T58" fmla="*/ 0 w 36"/>
                <a:gd name="T5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50">
                  <a:moveTo>
                    <a:pt x="0" y="16"/>
                  </a:moveTo>
                  <a:lnTo>
                    <a:pt x="10" y="16"/>
                  </a:lnTo>
                  <a:lnTo>
                    <a:pt x="8" y="10"/>
                  </a:lnTo>
                  <a:lnTo>
                    <a:pt x="10" y="4"/>
                  </a:lnTo>
                  <a:lnTo>
                    <a:pt x="14" y="6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0"/>
                  </a:lnTo>
                  <a:lnTo>
                    <a:pt x="22" y="4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4" y="12"/>
                  </a:lnTo>
                  <a:lnTo>
                    <a:pt x="34" y="18"/>
                  </a:lnTo>
                  <a:lnTo>
                    <a:pt x="30" y="24"/>
                  </a:lnTo>
                  <a:lnTo>
                    <a:pt x="36" y="28"/>
                  </a:lnTo>
                  <a:lnTo>
                    <a:pt x="34" y="34"/>
                  </a:lnTo>
                  <a:lnTo>
                    <a:pt x="30" y="38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4" y="50"/>
                  </a:lnTo>
                  <a:lnTo>
                    <a:pt x="26" y="50"/>
                  </a:lnTo>
                  <a:lnTo>
                    <a:pt x="22" y="48"/>
                  </a:lnTo>
                  <a:lnTo>
                    <a:pt x="18" y="50"/>
                  </a:lnTo>
                  <a:lnTo>
                    <a:pt x="12" y="44"/>
                  </a:lnTo>
                  <a:lnTo>
                    <a:pt x="12" y="38"/>
                  </a:lnTo>
                  <a:lnTo>
                    <a:pt x="16" y="30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2" y="2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9" name="Freeform 107"/>
            <p:cNvSpPr>
              <a:spLocks/>
            </p:cNvSpPr>
            <p:nvPr/>
          </p:nvSpPr>
          <p:spPr bwMode="gray">
            <a:xfrm>
              <a:off x="1171245" y="3383009"/>
              <a:ext cx="13380" cy="24081"/>
            </a:xfrm>
            <a:custGeom>
              <a:avLst/>
              <a:gdLst>
                <a:gd name="T0" fmla="*/ 12 w 12"/>
                <a:gd name="T1" fmla="*/ 12 h 24"/>
                <a:gd name="T2" fmla="*/ 12 w 12"/>
                <a:gd name="T3" fmla="*/ 18 h 24"/>
                <a:gd name="T4" fmla="*/ 6 w 12"/>
                <a:gd name="T5" fmla="*/ 24 h 24"/>
                <a:gd name="T6" fmla="*/ 0 w 12"/>
                <a:gd name="T7" fmla="*/ 20 h 24"/>
                <a:gd name="T8" fmla="*/ 2 w 12"/>
                <a:gd name="T9" fmla="*/ 12 h 24"/>
                <a:gd name="T10" fmla="*/ 6 w 12"/>
                <a:gd name="T11" fmla="*/ 4 h 24"/>
                <a:gd name="T12" fmla="*/ 10 w 12"/>
                <a:gd name="T13" fmla="*/ 0 h 24"/>
                <a:gd name="T14" fmla="*/ 12 w 12"/>
                <a:gd name="T15" fmla="*/ 4 h 24"/>
                <a:gd name="T16" fmla="*/ 12 w 12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4">
                  <a:moveTo>
                    <a:pt x="12" y="12"/>
                  </a:moveTo>
                  <a:lnTo>
                    <a:pt x="12" y="18"/>
                  </a:lnTo>
                  <a:lnTo>
                    <a:pt x="6" y="24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2" y="4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0" name="Freeform 108"/>
            <p:cNvSpPr>
              <a:spLocks/>
            </p:cNvSpPr>
            <p:nvPr/>
          </p:nvSpPr>
          <p:spPr bwMode="gray">
            <a:xfrm>
              <a:off x="1180691" y="3349405"/>
              <a:ext cx="21409" cy="28094"/>
            </a:xfrm>
            <a:custGeom>
              <a:avLst/>
              <a:gdLst>
                <a:gd name="T0" fmla="*/ 6 w 20"/>
                <a:gd name="T1" fmla="*/ 20 h 26"/>
                <a:gd name="T2" fmla="*/ 4 w 20"/>
                <a:gd name="T3" fmla="*/ 14 h 26"/>
                <a:gd name="T4" fmla="*/ 0 w 20"/>
                <a:gd name="T5" fmla="*/ 8 h 26"/>
                <a:gd name="T6" fmla="*/ 4 w 20"/>
                <a:gd name="T7" fmla="*/ 2 h 26"/>
                <a:gd name="T8" fmla="*/ 10 w 20"/>
                <a:gd name="T9" fmla="*/ 0 h 26"/>
                <a:gd name="T10" fmla="*/ 16 w 20"/>
                <a:gd name="T11" fmla="*/ 2 h 26"/>
                <a:gd name="T12" fmla="*/ 20 w 20"/>
                <a:gd name="T13" fmla="*/ 10 h 26"/>
                <a:gd name="T14" fmla="*/ 16 w 20"/>
                <a:gd name="T15" fmla="*/ 14 h 26"/>
                <a:gd name="T16" fmla="*/ 12 w 20"/>
                <a:gd name="T17" fmla="*/ 22 h 26"/>
                <a:gd name="T18" fmla="*/ 8 w 20"/>
                <a:gd name="T19" fmla="*/ 26 h 26"/>
                <a:gd name="T20" fmla="*/ 6 w 20"/>
                <a:gd name="T21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6">
                  <a:moveTo>
                    <a:pt x="6" y="20"/>
                  </a:moveTo>
                  <a:lnTo>
                    <a:pt x="4" y="14"/>
                  </a:lnTo>
                  <a:lnTo>
                    <a:pt x="0" y="8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6" y="2"/>
                  </a:lnTo>
                  <a:lnTo>
                    <a:pt x="20" y="10"/>
                  </a:lnTo>
                  <a:lnTo>
                    <a:pt x="16" y="14"/>
                  </a:lnTo>
                  <a:lnTo>
                    <a:pt x="12" y="22"/>
                  </a:lnTo>
                  <a:lnTo>
                    <a:pt x="8" y="26"/>
                  </a:lnTo>
                  <a:lnTo>
                    <a:pt x="6" y="2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1" name="Freeform 109"/>
            <p:cNvSpPr>
              <a:spLocks/>
            </p:cNvSpPr>
            <p:nvPr/>
          </p:nvSpPr>
          <p:spPr bwMode="gray">
            <a:xfrm>
              <a:off x="1192654" y="3520654"/>
              <a:ext cx="57536" cy="49499"/>
            </a:xfrm>
            <a:custGeom>
              <a:avLst/>
              <a:gdLst>
                <a:gd name="T0" fmla="*/ 4 w 52"/>
                <a:gd name="T1" fmla="*/ 24 h 48"/>
                <a:gd name="T2" fmla="*/ 10 w 52"/>
                <a:gd name="T3" fmla="*/ 26 h 48"/>
                <a:gd name="T4" fmla="*/ 16 w 52"/>
                <a:gd name="T5" fmla="*/ 20 h 48"/>
                <a:gd name="T6" fmla="*/ 22 w 52"/>
                <a:gd name="T7" fmla="*/ 18 h 48"/>
                <a:gd name="T8" fmla="*/ 24 w 52"/>
                <a:gd name="T9" fmla="*/ 22 h 48"/>
                <a:gd name="T10" fmla="*/ 30 w 52"/>
                <a:gd name="T11" fmla="*/ 22 h 48"/>
                <a:gd name="T12" fmla="*/ 34 w 52"/>
                <a:gd name="T13" fmla="*/ 16 h 48"/>
                <a:gd name="T14" fmla="*/ 38 w 52"/>
                <a:gd name="T15" fmla="*/ 8 h 48"/>
                <a:gd name="T16" fmla="*/ 42 w 52"/>
                <a:gd name="T17" fmla="*/ 4 h 48"/>
                <a:gd name="T18" fmla="*/ 50 w 52"/>
                <a:gd name="T19" fmla="*/ 0 h 48"/>
                <a:gd name="T20" fmla="*/ 52 w 52"/>
                <a:gd name="T21" fmla="*/ 2 h 48"/>
                <a:gd name="T22" fmla="*/ 48 w 52"/>
                <a:gd name="T23" fmla="*/ 12 h 48"/>
                <a:gd name="T24" fmla="*/ 38 w 52"/>
                <a:gd name="T25" fmla="*/ 18 h 48"/>
                <a:gd name="T26" fmla="*/ 34 w 52"/>
                <a:gd name="T27" fmla="*/ 26 h 48"/>
                <a:gd name="T28" fmla="*/ 34 w 52"/>
                <a:gd name="T29" fmla="*/ 28 h 48"/>
                <a:gd name="T30" fmla="*/ 34 w 52"/>
                <a:gd name="T31" fmla="*/ 30 h 48"/>
                <a:gd name="T32" fmla="*/ 32 w 52"/>
                <a:gd name="T33" fmla="*/ 32 h 48"/>
                <a:gd name="T34" fmla="*/ 24 w 52"/>
                <a:gd name="T35" fmla="*/ 34 h 48"/>
                <a:gd name="T36" fmla="*/ 22 w 52"/>
                <a:gd name="T37" fmla="*/ 40 h 48"/>
                <a:gd name="T38" fmla="*/ 20 w 52"/>
                <a:gd name="T39" fmla="*/ 46 h 48"/>
                <a:gd name="T40" fmla="*/ 12 w 52"/>
                <a:gd name="T41" fmla="*/ 48 h 48"/>
                <a:gd name="T42" fmla="*/ 6 w 52"/>
                <a:gd name="T43" fmla="*/ 44 h 48"/>
                <a:gd name="T44" fmla="*/ 8 w 52"/>
                <a:gd name="T45" fmla="*/ 38 h 48"/>
                <a:gd name="T46" fmla="*/ 8 w 52"/>
                <a:gd name="T47" fmla="*/ 34 h 48"/>
                <a:gd name="T48" fmla="*/ 0 w 52"/>
                <a:gd name="T49" fmla="*/ 34 h 48"/>
                <a:gd name="T50" fmla="*/ 2 w 52"/>
                <a:gd name="T51" fmla="*/ 28 h 48"/>
                <a:gd name="T52" fmla="*/ 4 w 52"/>
                <a:gd name="T5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" h="48">
                  <a:moveTo>
                    <a:pt x="4" y="24"/>
                  </a:moveTo>
                  <a:lnTo>
                    <a:pt x="10" y="26"/>
                  </a:lnTo>
                  <a:lnTo>
                    <a:pt x="16" y="20"/>
                  </a:lnTo>
                  <a:lnTo>
                    <a:pt x="22" y="18"/>
                  </a:lnTo>
                  <a:lnTo>
                    <a:pt x="24" y="22"/>
                  </a:lnTo>
                  <a:lnTo>
                    <a:pt x="30" y="22"/>
                  </a:lnTo>
                  <a:lnTo>
                    <a:pt x="34" y="16"/>
                  </a:lnTo>
                  <a:lnTo>
                    <a:pt x="38" y="8"/>
                  </a:lnTo>
                  <a:lnTo>
                    <a:pt x="42" y="4"/>
                  </a:lnTo>
                  <a:lnTo>
                    <a:pt x="50" y="0"/>
                  </a:lnTo>
                  <a:lnTo>
                    <a:pt x="52" y="2"/>
                  </a:lnTo>
                  <a:lnTo>
                    <a:pt x="48" y="12"/>
                  </a:lnTo>
                  <a:lnTo>
                    <a:pt x="38" y="18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4" y="30"/>
                  </a:lnTo>
                  <a:lnTo>
                    <a:pt x="32" y="32"/>
                  </a:lnTo>
                  <a:lnTo>
                    <a:pt x="24" y="34"/>
                  </a:lnTo>
                  <a:lnTo>
                    <a:pt x="22" y="40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6" y="44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2" y="28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2" name="Freeform 110"/>
            <p:cNvSpPr>
              <a:spLocks/>
            </p:cNvSpPr>
            <p:nvPr/>
          </p:nvSpPr>
          <p:spPr bwMode="gray">
            <a:xfrm>
              <a:off x="1254205" y="3572821"/>
              <a:ext cx="13380" cy="26756"/>
            </a:xfrm>
            <a:custGeom>
              <a:avLst/>
              <a:gdLst>
                <a:gd name="T0" fmla="*/ 6 w 12"/>
                <a:gd name="T1" fmla="*/ 0 h 26"/>
                <a:gd name="T2" fmla="*/ 12 w 12"/>
                <a:gd name="T3" fmla="*/ 2 h 26"/>
                <a:gd name="T4" fmla="*/ 12 w 12"/>
                <a:gd name="T5" fmla="*/ 8 h 26"/>
                <a:gd name="T6" fmla="*/ 12 w 12"/>
                <a:gd name="T7" fmla="*/ 16 h 26"/>
                <a:gd name="T8" fmla="*/ 12 w 12"/>
                <a:gd name="T9" fmla="*/ 24 h 26"/>
                <a:gd name="T10" fmla="*/ 6 w 12"/>
                <a:gd name="T11" fmla="*/ 26 h 26"/>
                <a:gd name="T12" fmla="*/ 0 w 12"/>
                <a:gd name="T13" fmla="*/ 16 h 26"/>
                <a:gd name="T14" fmla="*/ 0 w 12"/>
                <a:gd name="T15" fmla="*/ 8 h 26"/>
                <a:gd name="T16" fmla="*/ 0 w 12"/>
                <a:gd name="T17" fmla="*/ 4 h 26"/>
                <a:gd name="T18" fmla="*/ 6 w 12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6">
                  <a:moveTo>
                    <a:pt x="6" y="0"/>
                  </a:moveTo>
                  <a:lnTo>
                    <a:pt x="12" y="2"/>
                  </a:lnTo>
                  <a:lnTo>
                    <a:pt x="12" y="8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6" y="26"/>
                  </a:lnTo>
                  <a:lnTo>
                    <a:pt x="0" y="16"/>
                  </a:lnTo>
                  <a:lnTo>
                    <a:pt x="0" y="8"/>
                  </a:lnTo>
                  <a:lnTo>
                    <a:pt x="0" y="4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3" name="Freeform 111"/>
            <p:cNvSpPr>
              <a:spLocks/>
            </p:cNvSpPr>
            <p:nvPr/>
          </p:nvSpPr>
          <p:spPr bwMode="gray">
            <a:xfrm>
              <a:off x="1256880" y="3709279"/>
              <a:ext cx="32113" cy="32108"/>
            </a:xfrm>
            <a:custGeom>
              <a:avLst/>
              <a:gdLst>
                <a:gd name="T0" fmla="*/ 26 w 30"/>
                <a:gd name="T1" fmla="*/ 0 h 30"/>
                <a:gd name="T2" fmla="*/ 28 w 30"/>
                <a:gd name="T3" fmla="*/ 6 h 30"/>
                <a:gd name="T4" fmla="*/ 30 w 30"/>
                <a:gd name="T5" fmla="*/ 12 h 30"/>
                <a:gd name="T6" fmla="*/ 28 w 30"/>
                <a:gd name="T7" fmla="*/ 16 h 30"/>
                <a:gd name="T8" fmla="*/ 26 w 30"/>
                <a:gd name="T9" fmla="*/ 18 h 30"/>
                <a:gd name="T10" fmla="*/ 22 w 30"/>
                <a:gd name="T11" fmla="*/ 24 h 30"/>
                <a:gd name="T12" fmla="*/ 18 w 30"/>
                <a:gd name="T13" fmla="*/ 28 h 30"/>
                <a:gd name="T14" fmla="*/ 10 w 30"/>
                <a:gd name="T15" fmla="*/ 30 h 30"/>
                <a:gd name="T16" fmla="*/ 0 w 30"/>
                <a:gd name="T17" fmla="*/ 30 h 30"/>
                <a:gd name="T18" fmla="*/ 4 w 30"/>
                <a:gd name="T19" fmla="*/ 18 h 30"/>
                <a:gd name="T20" fmla="*/ 14 w 30"/>
                <a:gd name="T21" fmla="*/ 10 h 30"/>
                <a:gd name="T22" fmla="*/ 18 w 30"/>
                <a:gd name="T23" fmla="*/ 4 h 30"/>
                <a:gd name="T24" fmla="*/ 26 w 30"/>
                <a:gd name="T2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0">
                  <a:moveTo>
                    <a:pt x="26" y="0"/>
                  </a:moveTo>
                  <a:lnTo>
                    <a:pt x="28" y="6"/>
                  </a:lnTo>
                  <a:lnTo>
                    <a:pt x="30" y="12"/>
                  </a:lnTo>
                  <a:lnTo>
                    <a:pt x="28" y="16"/>
                  </a:lnTo>
                  <a:lnTo>
                    <a:pt x="26" y="18"/>
                  </a:lnTo>
                  <a:lnTo>
                    <a:pt x="22" y="24"/>
                  </a:lnTo>
                  <a:lnTo>
                    <a:pt x="18" y="28"/>
                  </a:lnTo>
                  <a:lnTo>
                    <a:pt x="10" y="30"/>
                  </a:lnTo>
                  <a:lnTo>
                    <a:pt x="0" y="30"/>
                  </a:lnTo>
                  <a:lnTo>
                    <a:pt x="4" y="18"/>
                  </a:lnTo>
                  <a:lnTo>
                    <a:pt x="14" y="10"/>
                  </a:lnTo>
                  <a:lnTo>
                    <a:pt x="18" y="4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4" name="Freeform 112"/>
            <p:cNvSpPr>
              <a:spLocks/>
            </p:cNvSpPr>
            <p:nvPr/>
          </p:nvSpPr>
          <p:spPr bwMode="gray">
            <a:xfrm>
              <a:off x="2546835" y="2128131"/>
              <a:ext cx="22747" cy="20067"/>
            </a:xfrm>
            <a:custGeom>
              <a:avLst/>
              <a:gdLst>
                <a:gd name="T0" fmla="*/ 4 w 20"/>
                <a:gd name="T1" fmla="*/ 0 h 20"/>
                <a:gd name="T2" fmla="*/ 10 w 20"/>
                <a:gd name="T3" fmla="*/ 4 h 20"/>
                <a:gd name="T4" fmla="*/ 16 w 20"/>
                <a:gd name="T5" fmla="*/ 6 h 20"/>
                <a:gd name="T6" fmla="*/ 20 w 20"/>
                <a:gd name="T7" fmla="*/ 12 h 20"/>
                <a:gd name="T8" fmla="*/ 20 w 20"/>
                <a:gd name="T9" fmla="*/ 18 h 20"/>
                <a:gd name="T10" fmla="*/ 14 w 20"/>
                <a:gd name="T11" fmla="*/ 20 h 20"/>
                <a:gd name="T12" fmla="*/ 8 w 20"/>
                <a:gd name="T13" fmla="*/ 16 h 20"/>
                <a:gd name="T14" fmla="*/ 6 w 20"/>
                <a:gd name="T15" fmla="*/ 10 h 20"/>
                <a:gd name="T16" fmla="*/ 0 w 20"/>
                <a:gd name="T17" fmla="*/ 4 h 20"/>
                <a:gd name="T18" fmla="*/ 4 w 2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4" y="0"/>
                  </a:moveTo>
                  <a:lnTo>
                    <a:pt x="10" y="4"/>
                  </a:lnTo>
                  <a:lnTo>
                    <a:pt x="16" y="6"/>
                  </a:lnTo>
                  <a:lnTo>
                    <a:pt x="20" y="12"/>
                  </a:lnTo>
                  <a:lnTo>
                    <a:pt x="20" y="18"/>
                  </a:lnTo>
                  <a:lnTo>
                    <a:pt x="14" y="20"/>
                  </a:lnTo>
                  <a:lnTo>
                    <a:pt x="8" y="16"/>
                  </a:lnTo>
                  <a:lnTo>
                    <a:pt x="6" y="10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5" name="Freeform 113"/>
            <p:cNvSpPr>
              <a:spLocks/>
            </p:cNvSpPr>
            <p:nvPr/>
          </p:nvSpPr>
          <p:spPr bwMode="gray">
            <a:xfrm>
              <a:off x="1920630" y="3223808"/>
              <a:ext cx="21409" cy="21405"/>
            </a:xfrm>
            <a:custGeom>
              <a:avLst/>
              <a:gdLst>
                <a:gd name="T0" fmla="*/ 6 w 20"/>
                <a:gd name="T1" fmla="*/ 0 h 20"/>
                <a:gd name="T2" fmla="*/ 14 w 20"/>
                <a:gd name="T3" fmla="*/ 0 h 20"/>
                <a:gd name="T4" fmla="*/ 18 w 20"/>
                <a:gd name="T5" fmla="*/ 6 h 20"/>
                <a:gd name="T6" fmla="*/ 20 w 20"/>
                <a:gd name="T7" fmla="*/ 16 h 20"/>
                <a:gd name="T8" fmla="*/ 14 w 20"/>
                <a:gd name="T9" fmla="*/ 18 h 20"/>
                <a:gd name="T10" fmla="*/ 6 w 20"/>
                <a:gd name="T11" fmla="*/ 16 h 20"/>
                <a:gd name="T12" fmla="*/ 4 w 20"/>
                <a:gd name="T13" fmla="*/ 20 h 20"/>
                <a:gd name="T14" fmla="*/ 0 w 20"/>
                <a:gd name="T15" fmla="*/ 18 h 20"/>
                <a:gd name="T16" fmla="*/ 0 w 20"/>
                <a:gd name="T17" fmla="*/ 8 h 20"/>
                <a:gd name="T18" fmla="*/ 6 w 20"/>
                <a:gd name="T19" fmla="*/ 6 h 20"/>
                <a:gd name="T20" fmla="*/ 6 w 20"/>
                <a:gd name="T2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0">
                  <a:moveTo>
                    <a:pt x="6" y="0"/>
                  </a:moveTo>
                  <a:lnTo>
                    <a:pt x="14" y="0"/>
                  </a:lnTo>
                  <a:lnTo>
                    <a:pt x="18" y="6"/>
                  </a:lnTo>
                  <a:lnTo>
                    <a:pt x="20" y="16"/>
                  </a:lnTo>
                  <a:lnTo>
                    <a:pt x="14" y="18"/>
                  </a:lnTo>
                  <a:lnTo>
                    <a:pt x="6" y="16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0" y="8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6" name="Freeform 114"/>
            <p:cNvSpPr>
              <a:spLocks/>
            </p:cNvSpPr>
            <p:nvPr/>
          </p:nvSpPr>
          <p:spPr bwMode="gray">
            <a:xfrm>
              <a:off x="2691264" y="3154082"/>
              <a:ext cx="44155" cy="30770"/>
            </a:xfrm>
            <a:custGeom>
              <a:avLst/>
              <a:gdLst>
                <a:gd name="T0" fmla="*/ 24 w 40"/>
                <a:gd name="T1" fmla="*/ 8 h 30"/>
                <a:gd name="T2" fmla="*/ 24 w 40"/>
                <a:gd name="T3" fmla="*/ 16 h 30"/>
                <a:gd name="T4" fmla="*/ 32 w 40"/>
                <a:gd name="T5" fmla="*/ 12 h 30"/>
                <a:gd name="T6" fmla="*/ 40 w 40"/>
                <a:gd name="T7" fmla="*/ 12 h 30"/>
                <a:gd name="T8" fmla="*/ 38 w 40"/>
                <a:gd name="T9" fmla="*/ 22 h 30"/>
                <a:gd name="T10" fmla="*/ 30 w 40"/>
                <a:gd name="T11" fmla="*/ 24 h 30"/>
                <a:gd name="T12" fmla="*/ 26 w 40"/>
                <a:gd name="T13" fmla="*/ 30 h 30"/>
                <a:gd name="T14" fmla="*/ 20 w 40"/>
                <a:gd name="T15" fmla="*/ 24 h 30"/>
                <a:gd name="T16" fmla="*/ 14 w 40"/>
                <a:gd name="T17" fmla="*/ 24 h 30"/>
                <a:gd name="T18" fmla="*/ 8 w 40"/>
                <a:gd name="T19" fmla="*/ 22 h 30"/>
                <a:gd name="T20" fmla="*/ 8 w 40"/>
                <a:gd name="T21" fmla="*/ 16 h 30"/>
                <a:gd name="T22" fmla="*/ 2 w 40"/>
                <a:gd name="T23" fmla="*/ 18 h 30"/>
                <a:gd name="T24" fmla="*/ 0 w 40"/>
                <a:gd name="T25" fmla="*/ 10 h 30"/>
                <a:gd name="T26" fmla="*/ 6 w 40"/>
                <a:gd name="T27" fmla="*/ 6 h 30"/>
                <a:gd name="T28" fmla="*/ 12 w 40"/>
                <a:gd name="T29" fmla="*/ 10 h 30"/>
                <a:gd name="T30" fmla="*/ 18 w 40"/>
                <a:gd name="T31" fmla="*/ 8 h 30"/>
                <a:gd name="T32" fmla="*/ 16 w 40"/>
                <a:gd name="T33" fmla="*/ 0 h 30"/>
                <a:gd name="T34" fmla="*/ 20 w 40"/>
                <a:gd name="T35" fmla="*/ 0 h 30"/>
                <a:gd name="T36" fmla="*/ 24 w 40"/>
                <a:gd name="T37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0">
                  <a:moveTo>
                    <a:pt x="24" y="8"/>
                  </a:moveTo>
                  <a:lnTo>
                    <a:pt x="24" y="16"/>
                  </a:lnTo>
                  <a:lnTo>
                    <a:pt x="32" y="12"/>
                  </a:lnTo>
                  <a:lnTo>
                    <a:pt x="40" y="12"/>
                  </a:lnTo>
                  <a:lnTo>
                    <a:pt x="38" y="22"/>
                  </a:lnTo>
                  <a:lnTo>
                    <a:pt x="30" y="24"/>
                  </a:lnTo>
                  <a:lnTo>
                    <a:pt x="26" y="30"/>
                  </a:lnTo>
                  <a:lnTo>
                    <a:pt x="20" y="24"/>
                  </a:lnTo>
                  <a:lnTo>
                    <a:pt x="14" y="24"/>
                  </a:lnTo>
                  <a:lnTo>
                    <a:pt x="8" y="22"/>
                  </a:lnTo>
                  <a:lnTo>
                    <a:pt x="8" y="16"/>
                  </a:lnTo>
                  <a:lnTo>
                    <a:pt x="2" y="18"/>
                  </a:lnTo>
                  <a:lnTo>
                    <a:pt x="0" y="10"/>
                  </a:lnTo>
                  <a:lnTo>
                    <a:pt x="6" y="6"/>
                  </a:lnTo>
                  <a:lnTo>
                    <a:pt x="12" y="10"/>
                  </a:lnTo>
                  <a:lnTo>
                    <a:pt x="18" y="8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rgbClr val="BFBFBF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7" name="Freeform 115"/>
            <p:cNvSpPr>
              <a:spLocks/>
            </p:cNvSpPr>
            <p:nvPr/>
          </p:nvSpPr>
          <p:spPr bwMode="gray">
            <a:xfrm>
              <a:off x="1503160" y="4956131"/>
              <a:ext cx="18733" cy="14716"/>
            </a:xfrm>
            <a:custGeom>
              <a:avLst/>
              <a:gdLst>
                <a:gd name="T0" fmla="*/ 8 w 16"/>
                <a:gd name="T1" fmla="*/ 0 h 14"/>
                <a:gd name="T2" fmla="*/ 2 w 16"/>
                <a:gd name="T3" fmla="*/ 2 h 14"/>
                <a:gd name="T4" fmla="*/ 0 w 16"/>
                <a:gd name="T5" fmla="*/ 6 h 14"/>
                <a:gd name="T6" fmla="*/ 2 w 16"/>
                <a:gd name="T7" fmla="*/ 10 h 14"/>
                <a:gd name="T8" fmla="*/ 8 w 16"/>
                <a:gd name="T9" fmla="*/ 14 h 14"/>
                <a:gd name="T10" fmla="*/ 12 w 16"/>
                <a:gd name="T11" fmla="*/ 14 h 14"/>
                <a:gd name="T12" fmla="*/ 16 w 16"/>
                <a:gd name="T13" fmla="*/ 8 h 14"/>
                <a:gd name="T14" fmla="*/ 14 w 16"/>
                <a:gd name="T15" fmla="*/ 4 h 14"/>
                <a:gd name="T16" fmla="*/ 12 w 16"/>
                <a:gd name="T17" fmla="*/ 0 h 14"/>
                <a:gd name="T18" fmla="*/ 8 w 16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4">
                  <a:moveTo>
                    <a:pt x="8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AB3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8" name="Rectangle 116"/>
            <p:cNvSpPr>
              <a:spLocks noChangeArrowheads="1"/>
            </p:cNvSpPr>
            <p:nvPr/>
          </p:nvSpPr>
          <p:spPr bwMode="gray">
            <a:xfrm>
              <a:off x="459485" y="1844353"/>
              <a:ext cx="3351803" cy="38689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595195">
                <a:defRPr/>
              </a:pPr>
              <a:endParaRPr lang="en-US" sz="700" b="1" u="sng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9" name="Freeform 122"/>
            <p:cNvSpPr>
              <a:spLocks/>
            </p:cNvSpPr>
            <p:nvPr/>
          </p:nvSpPr>
          <p:spPr bwMode="gray">
            <a:xfrm>
              <a:off x="3523529" y="4920169"/>
              <a:ext cx="295708" cy="505697"/>
            </a:xfrm>
            <a:custGeom>
              <a:avLst/>
              <a:gdLst>
                <a:gd name="T0" fmla="*/ 258 w 270"/>
                <a:gd name="T1" fmla="*/ 452 h 484"/>
                <a:gd name="T2" fmla="*/ 230 w 270"/>
                <a:gd name="T3" fmla="*/ 464 h 484"/>
                <a:gd name="T4" fmla="*/ 214 w 270"/>
                <a:gd name="T5" fmla="*/ 470 h 484"/>
                <a:gd name="T6" fmla="*/ 190 w 270"/>
                <a:gd name="T7" fmla="*/ 470 h 484"/>
                <a:gd name="T8" fmla="*/ 164 w 270"/>
                <a:gd name="T9" fmla="*/ 484 h 484"/>
                <a:gd name="T10" fmla="*/ 190 w 270"/>
                <a:gd name="T11" fmla="*/ 466 h 484"/>
                <a:gd name="T12" fmla="*/ 212 w 270"/>
                <a:gd name="T13" fmla="*/ 444 h 484"/>
                <a:gd name="T14" fmla="*/ 220 w 270"/>
                <a:gd name="T15" fmla="*/ 434 h 484"/>
                <a:gd name="T16" fmla="*/ 170 w 270"/>
                <a:gd name="T17" fmla="*/ 452 h 484"/>
                <a:gd name="T18" fmla="*/ 144 w 270"/>
                <a:gd name="T19" fmla="*/ 458 h 484"/>
                <a:gd name="T20" fmla="*/ 162 w 270"/>
                <a:gd name="T21" fmla="*/ 440 h 484"/>
                <a:gd name="T22" fmla="*/ 164 w 270"/>
                <a:gd name="T23" fmla="*/ 428 h 484"/>
                <a:gd name="T24" fmla="*/ 142 w 270"/>
                <a:gd name="T25" fmla="*/ 420 h 484"/>
                <a:gd name="T26" fmla="*/ 130 w 270"/>
                <a:gd name="T27" fmla="*/ 408 h 484"/>
                <a:gd name="T28" fmla="*/ 118 w 270"/>
                <a:gd name="T29" fmla="*/ 390 h 484"/>
                <a:gd name="T30" fmla="*/ 126 w 270"/>
                <a:gd name="T31" fmla="*/ 362 h 484"/>
                <a:gd name="T32" fmla="*/ 96 w 270"/>
                <a:gd name="T33" fmla="*/ 360 h 484"/>
                <a:gd name="T34" fmla="*/ 80 w 270"/>
                <a:gd name="T35" fmla="*/ 348 h 484"/>
                <a:gd name="T36" fmla="*/ 68 w 270"/>
                <a:gd name="T37" fmla="*/ 362 h 484"/>
                <a:gd name="T38" fmla="*/ 42 w 270"/>
                <a:gd name="T39" fmla="*/ 352 h 484"/>
                <a:gd name="T40" fmla="*/ 56 w 270"/>
                <a:gd name="T41" fmla="*/ 336 h 484"/>
                <a:gd name="T42" fmla="*/ 42 w 270"/>
                <a:gd name="T43" fmla="*/ 316 h 484"/>
                <a:gd name="T44" fmla="*/ 56 w 270"/>
                <a:gd name="T45" fmla="*/ 316 h 484"/>
                <a:gd name="T46" fmla="*/ 68 w 270"/>
                <a:gd name="T47" fmla="*/ 336 h 484"/>
                <a:gd name="T48" fmla="*/ 94 w 270"/>
                <a:gd name="T49" fmla="*/ 328 h 484"/>
                <a:gd name="T50" fmla="*/ 88 w 270"/>
                <a:gd name="T51" fmla="*/ 320 h 484"/>
                <a:gd name="T52" fmla="*/ 70 w 270"/>
                <a:gd name="T53" fmla="*/ 304 h 484"/>
                <a:gd name="T54" fmla="*/ 80 w 270"/>
                <a:gd name="T55" fmla="*/ 284 h 484"/>
                <a:gd name="T56" fmla="*/ 70 w 270"/>
                <a:gd name="T57" fmla="*/ 278 h 484"/>
                <a:gd name="T58" fmla="*/ 60 w 270"/>
                <a:gd name="T59" fmla="*/ 256 h 484"/>
                <a:gd name="T60" fmla="*/ 52 w 270"/>
                <a:gd name="T61" fmla="*/ 238 h 484"/>
                <a:gd name="T62" fmla="*/ 64 w 270"/>
                <a:gd name="T63" fmla="*/ 222 h 484"/>
                <a:gd name="T64" fmla="*/ 56 w 270"/>
                <a:gd name="T65" fmla="*/ 216 h 484"/>
                <a:gd name="T66" fmla="*/ 26 w 270"/>
                <a:gd name="T67" fmla="*/ 232 h 484"/>
                <a:gd name="T68" fmla="*/ 0 w 270"/>
                <a:gd name="T69" fmla="*/ 236 h 484"/>
                <a:gd name="T70" fmla="*/ 0 w 270"/>
                <a:gd name="T71" fmla="*/ 198 h 484"/>
                <a:gd name="T72" fmla="*/ 10 w 270"/>
                <a:gd name="T73" fmla="*/ 174 h 484"/>
                <a:gd name="T74" fmla="*/ 22 w 270"/>
                <a:gd name="T75" fmla="*/ 150 h 484"/>
                <a:gd name="T76" fmla="*/ 40 w 270"/>
                <a:gd name="T77" fmla="*/ 136 h 484"/>
                <a:gd name="T78" fmla="*/ 62 w 270"/>
                <a:gd name="T79" fmla="*/ 126 h 484"/>
                <a:gd name="T80" fmla="*/ 90 w 270"/>
                <a:gd name="T81" fmla="*/ 134 h 484"/>
                <a:gd name="T82" fmla="*/ 112 w 270"/>
                <a:gd name="T83" fmla="*/ 126 h 484"/>
                <a:gd name="T84" fmla="*/ 124 w 270"/>
                <a:gd name="T85" fmla="*/ 116 h 484"/>
                <a:gd name="T86" fmla="*/ 158 w 270"/>
                <a:gd name="T87" fmla="*/ 108 h 484"/>
                <a:gd name="T88" fmla="*/ 196 w 270"/>
                <a:gd name="T89" fmla="*/ 100 h 484"/>
                <a:gd name="T90" fmla="*/ 190 w 270"/>
                <a:gd name="T91" fmla="*/ 90 h 484"/>
                <a:gd name="T92" fmla="*/ 188 w 270"/>
                <a:gd name="T93" fmla="*/ 74 h 484"/>
                <a:gd name="T94" fmla="*/ 218 w 270"/>
                <a:gd name="T95" fmla="*/ 60 h 484"/>
                <a:gd name="T96" fmla="*/ 242 w 270"/>
                <a:gd name="T97" fmla="*/ 52 h 484"/>
                <a:gd name="T98" fmla="*/ 224 w 270"/>
                <a:gd name="T99" fmla="*/ 48 h 484"/>
                <a:gd name="T100" fmla="*/ 200 w 270"/>
                <a:gd name="T101" fmla="*/ 48 h 484"/>
                <a:gd name="T102" fmla="*/ 180 w 270"/>
                <a:gd name="T103" fmla="*/ 40 h 484"/>
                <a:gd name="T104" fmla="*/ 180 w 270"/>
                <a:gd name="T105" fmla="*/ 26 h 484"/>
                <a:gd name="T106" fmla="*/ 188 w 270"/>
                <a:gd name="T107" fmla="*/ 12 h 484"/>
                <a:gd name="T108" fmla="*/ 248 w 270"/>
                <a:gd name="T109" fmla="*/ 6 h 484"/>
                <a:gd name="T110" fmla="*/ 270 w 270"/>
                <a:gd name="T111" fmla="*/ 460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0" h="484">
                  <a:moveTo>
                    <a:pt x="270" y="460"/>
                  </a:moveTo>
                  <a:lnTo>
                    <a:pt x="260" y="458"/>
                  </a:lnTo>
                  <a:lnTo>
                    <a:pt x="258" y="452"/>
                  </a:lnTo>
                  <a:lnTo>
                    <a:pt x="244" y="448"/>
                  </a:lnTo>
                  <a:lnTo>
                    <a:pt x="230" y="452"/>
                  </a:lnTo>
                  <a:lnTo>
                    <a:pt x="230" y="464"/>
                  </a:lnTo>
                  <a:lnTo>
                    <a:pt x="222" y="474"/>
                  </a:lnTo>
                  <a:lnTo>
                    <a:pt x="218" y="482"/>
                  </a:lnTo>
                  <a:lnTo>
                    <a:pt x="214" y="470"/>
                  </a:lnTo>
                  <a:lnTo>
                    <a:pt x="212" y="464"/>
                  </a:lnTo>
                  <a:lnTo>
                    <a:pt x="206" y="468"/>
                  </a:lnTo>
                  <a:lnTo>
                    <a:pt x="190" y="470"/>
                  </a:lnTo>
                  <a:lnTo>
                    <a:pt x="188" y="478"/>
                  </a:lnTo>
                  <a:lnTo>
                    <a:pt x="178" y="482"/>
                  </a:lnTo>
                  <a:lnTo>
                    <a:pt x="164" y="484"/>
                  </a:lnTo>
                  <a:lnTo>
                    <a:pt x="170" y="476"/>
                  </a:lnTo>
                  <a:lnTo>
                    <a:pt x="180" y="468"/>
                  </a:lnTo>
                  <a:lnTo>
                    <a:pt x="190" y="466"/>
                  </a:lnTo>
                  <a:lnTo>
                    <a:pt x="204" y="460"/>
                  </a:lnTo>
                  <a:lnTo>
                    <a:pt x="212" y="452"/>
                  </a:lnTo>
                  <a:lnTo>
                    <a:pt x="212" y="444"/>
                  </a:lnTo>
                  <a:lnTo>
                    <a:pt x="222" y="438"/>
                  </a:lnTo>
                  <a:lnTo>
                    <a:pt x="230" y="432"/>
                  </a:lnTo>
                  <a:lnTo>
                    <a:pt x="220" y="434"/>
                  </a:lnTo>
                  <a:lnTo>
                    <a:pt x="196" y="442"/>
                  </a:lnTo>
                  <a:lnTo>
                    <a:pt x="186" y="446"/>
                  </a:lnTo>
                  <a:lnTo>
                    <a:pt x="170" y="452"/>
                  </a:lnTo>
                  <a:lnTo>
                    <a:pt x="158" y="454"/>
                  </a:lnTo>
                  <a:lnTo>
                    <a:pt x="152" y="462"/>
                  </a:lnTo>
                  <a:lnTo>
                    <a:pt x="144" y="458"/>
                  </a:lnTo>
                  <a:lnTo>
                    <a:pt x="146" y="444"/>
                  </a:lnTo>
                  <a:lnTo>
                    <a:pt x="152" y="440"/>
                  </a:lnTo>
                  <a:lnTo>
                    <a:pt x="162" y="440"/>
                  </a:lnTo>
                  <a:lnTo>
                    <a:pt x="170" y="434"/>
                  </a:lnTo>
                  <a:lnTo>
                    <a:pt x="170" y="426"/>
                  </a:lnTo>
                  <a:lnTo>
                    <a:pt x="164" y="428"/>
                  </a:lnTo>
                  <a:lnTo>
                    <a:pt x="154" y="424"/>
                  </a:lnTo>
                  <a:lnTo>
                    <a:pt x="150" y="414"/>
                  </a:lnTo>
                  <a:lnTo>
                    <a:pt x="142" y="420"/>
                  </a:lnTo>
                  <a:lnTo>
                    <a:pt x="138" y="424"/>
                  </a:lnTo>
                  <a:lnTo>
                    <a:pt x="134" y="418"/>
                  </a:lnTo>
                  <a:lnTo>
                    <a:pt x="130" y="408"/>
                  </a:lnTo>
                  <a:lnTo>
                    <a:pt x="128" y="398"/>
                  </a:lnTo>
                  <a:lnTo>
                    <a:pt x="114" y="398"/>
                  </a:lnTo>
                  <a:lnTo>
                    <a:pt x="118" y="390"/>
                  </a:lnTo>
                  <a:lnTo>
                    <a:pt x="128" y="382"/>
                  </a:lnTo>
                  <a:lnTo>
                    <a:pt x="126" y="372"/>
                  </a:lnTo>
                  <a:lnTo>
                    <a:pt x="126" y="362"/>
                  </a:lnTo>
                  <a:lnTo>
                    <a:pt x="116" y="362"/>
                  </a:lnTo>
                  <a:lnTo>
                    <a:pt x="104" y="360"/>
                  </a:lnTo>
                  <a:lnTo>
                    <a:pt x="96" y="360"/>
                  </a:lnTo>
                  <a:lnTo>
                    <a:pt x="90" y="364"/>
                  </a:lnTo>
                  <a:lnTo>
                    <a:pt x="90" y="354"/>
                  </a:lnTo>
                  <a:lnTo>
                    <a:pt x="80" y="348"/>
                  </a:lnTo>
                  <a:lnTo>
                    <a:pt x="72" y="348"/>
                  </a:lnTo>
                  <a:lnTo>
                    <a:pt x="72" y="358"/>
                  </a:lnTo>
                  <a:lnTo>
                    <a:pt x="68" y="362"/>
                  </a:lnTo>
                  <a:lnTo>
                    <a:pt x="62" y="356"/>
                  </a:lnTo>
                  <a:lnTo>
                    <a:pt x="54" y="354"/>
                  </a:lnTo>
                  <a:lnTo>
                    <a:pt x="42" y="352"/>
                  </a:lnTo>
                  <a:lnTo>
                    <a:pt x="42" y="344"/>
                  </a:lnTo>
                  <a:lnTo>
                    <a:pt x="50" y="342"/>
                  </a:lnTo>
                  <a:lnTo>
                    <a:pt x="56" y="336"/>
                  </a:lnTo>
                  <a:lnTo>
                    <a:pt x="56" y="330"/>
                  </a:lnTo>
                  <a:lnTo>
                    <a:pt x="46" y="326"/>
                  </a:lnTo>
                  <a:lnTo>
                    <a:pt x="42" y="316"/>
                  </a:lnTo>
                  <a:lnTo>
                    <a:pt x="44" y="308"/>
                  </a:lnTo>
                  <a:lnTo>
                    <a:pt x="52" y="310"/>
                  </a:lnTo>
                  <a:lnTo>
                    <a:pt x="56" y="316"/>
                  </a:lnTo>
                  <a:lnTo>
                    <a:pt x="66" y="322"/>
                  </a:lnTo>
                  <a:lnTo>
                    <a:pt x="66" y="330"/>
                  </a:lnTo>
                  <a:lnTo>
                    <a:pt x="68" y="336"/>
                  </a:lnTo>
                  <a:lnTo>
                    <a:pt x="74" y="330"/>
                  </a:lnTo>
                  <a:lnTo>
                    <a:pt x="84" y="330"/>
                  </a:lnTo>
                  <a:lnTo>
                    <a:pt x="94" y="328"/>
                  </a:lnTo>
                  <a:lnTo>
                    <a:pt x="100" y="326"/>
                  </a:lnTo>
                  <a:lnTo>
                    <a:pt x="100" y="320"/>
                  </a:lnTo>
                  <a:lnTo>
                    <a:pt x="88" y="320"/>
                  </a:lnTo>
                  <a:lnTo>
                    <a:pt x="80" y="314"/>
                  </a:lnTo>
                  <a:lnTo>
                    <a:pt x="76" y="308"/>
                  </a:lnTo>
                  <a:lnTo>
                    <a:pt x="70" y="304"/>
                  </a:lnTo>
                  <a:lnTo>
                    <a:pt x="68" y="296"/>
                  </a:lnTo>
                  <a:lnTo>
                    <a:pt x="74" y="292"/>
                  </a:lnTo>
                  <a:lnTo>
                    <a:pt x="80" y="284"/>
                  </a:lnTo>
                  <a:lnTo>
                    <a:pt x="88" y="280"/>
                  </a:lnTo>
                  <a:lnTo>
                    <a:pt x="80" y="278"/>
                  </a:lnTo>
                  <a:lnTo>
                    <a:pt x="70" y="278"/>
                  </a:lnTo>
                  <a:lnTo>
                    <a:pt x="68" y="268"/>
                  </a:lnTo>
                  <a:lnTo>
                    <a:pt x="68" y="258"/>
                  </a:lnTo>
                  <a:lnTo>
                    <a:pt x="60" y="256"/>
                  </a:lnTo>
                  <a:lnTo>
                    <a:pt x="56" y="250"/>
                  </a:lnTo>
                  <a:lnTo>
                    <a:pt x="48" y="246"/>
                  </a:lnTo>
                  <a:lnTo>
                    <a:pt x="52" y="238"/>
                  </a:lnTo>
                  <a:lnTo>
                    <a:pt x="60" y="230"/>
                  </a:lnTo>
                  <a:lnTo>
                    <a:pt x="62" y="226"/>
                  </a:lnTo>
                  <a:lnTo>
                    <a:pt x="64" y="222"/>
                  </a:lnTo>
                  <a:lnTo>
                    <a:pt x="62" y="220"/>
                  </a:lnTo>
                  <a:lnTo>
                    <a:pt x="60" y="218"/>
                  </a:lnTo>
                  <a:lnTo>
                    <a:pt x="56" y="216"/>
                  </a:lnTo>
                  <a:lnTo>
                    <a:pt x="44" y="220"/>
                  </a:lnTo>
                  <a:lnTo>
                    <a:pt x="36" y="226"/>
                  </a:lnTo>
                  <a:lnTo>
                    <a:pt x="26" y="232"/>
                  </a:lnTo>
                  <a:lnTo>
                    <a:pt x="16" y="236"/>
                  </a:lnTo>
                  <a:lnTo>
                    <a:pt x="8" y="242"/>
                  </a:lnTo>
                  <a:lnTo>
                    <a:pt x="0" y="236"/>
                  </a:lnTo>
                  <a:lnTo>
                    <a:pt x="4" y="224"/>
                  </a:lnTo>
                  <a:lnTo>
                    <a:pt x="2" y="208"/>
                  </a:lnTo>
                  <a:lnTo>
                    <a:pt x="0" y="198"/>
                  </a:lnTo>
                  <a:lnTo>
                    <a:pt x="0" y="188"/>
                  </a:lnTo>
                  <a:lnTo>
                    <a:pt x="8" y="182"/>
                  </a:lnTo>
                  <a:lnTo>
                    <a:pt x="10" y="174"/>
                  </a:lnTo>
                  <a:lnTo>
                    <a:pt x="8" y="168"/>
                  </a:lnTo>
                  <a:lnTo>
                    <a:pt x="18" y="158"/>
                  </a:lnTo>
                  <a:lnTo>
                    <a:pt x="22" y="150"/>
                  </a:lnTo>
                  <a:lnTo>
                    <a:pt x="28" y="144"/>
                  </a:lnTo>
                  <a:lnTo>
                    <a:pt x="36" y="136"/>
                  </a:lnTo>
                  <a:lnTo>
                    <a:pt x="40" y="136"/>
                  </a:lnTo>
                  <a:lnTo>
                    <a:pt x="48" y="136"/>
                  </a:lnTo>
                  <a:lnTo>
                    <a:pt x="54" y="128"/>
                  </a:lnTo>
                  <a:lnTo>
                    <a:pt x="62" y="126"/>
                  </a:lnTo>
                  <a:lnTo>
                    <a:pt x="68" y="124"/>
                  </a:lnTo>
                  <a:lnTo>
                    <a:pt x="74" y="132"/>
                  </a:lnTo>
                  <a:lnTo>
                    <a:pt x="90" y="134"/>
                  </a:lnTo>
                  <a:lnTo>
                    <a:pt x="98" y="130"/>
                  </a:lnTo>
                  <a:lnTo>
                    <a:pt x="106" y="128"/>
                  </a:lnTo>
                  <a:lnTo>
                    <a:pt x="112" y="126"/>
                  </a:lnTo>
                  <a:lnTo>
                    <a:pt x="114" y="122"/>
                  </a:lnTo>
                  <a:lnTo>
                    <a:pt x="118" y="120"/>
                  </a:lnTo>
                  <a:lnTo>
                    <a:pt x="124" y="116"/>
                  </a:lnTo>
                  <a:lnTo>
                    <a:pt x="130" y="114"/>
                  </a:lnTo>
                  <a:lnTo>
                    <a:pt x="144" y="110"/>
                  </a:lnTo>
                  <a:lnTo>
                    <a:pt x="158" y="108"/>
                  </a:lnTo>
                  <a:lnTo>
                    <a:pt x="170" y="106"/>
                  </a:lnTo>
                  <a:lnTo>
                    <a:pt x="180" y="100"/>
                  </a:lnTo>
                  <a:lnTo>
                    <a:pt x="196" y="100"/>
                  </a:lnTo>
                  <a:lnTo>
                    <a:pt x="204" y="92"/>
                  </a:lnTo>
                  <a:lnTo>
                    <a:pt x="198" y="90"/>
                  </a:lnTo>
                  <a:lnTo>
                    <a:pt x="190" y="90"/>
                  </a:lnTo>
                  <a:lnTo>
                    <a:pt x="180" y="88"/>
                  </a:lnTo>
                  <a:lnTo>
                    <a:pt x="178" y="82"/>
                  </a:lnTo>
                  <a:lnTo>
                    <a:pt x="188" y="74"/>
                  </a:lnTo>
                  <a:lnTo>
                    <a:pt x="202" y="72"/>
                  </a:lnTo>
                  <a:lnTo>
                    <a:pt x="214" y="62"/>
                  </a:lnTo>
                  <a:lnTo>
                    <a:pt x="218" y="60"/>
                  </a:lnTo>
                  <a:lnTo>
                    <a:pt x="222" y="56"/>
                  </a:lnTo>
                  <a:lnTo>
                    <a:pt x="234" y="54"/>
                  </a:lnTo>
                  <a:lnTo>
                    <a:pt x="242" y="52"/>
                  </a:lnTo>
                  <a:lnTo>
                    <a:pt x="248" y="48"/>
                  </a:lnTo>
                  <a:lnTo>
                    <a:pt x="238" y="46"/>
                  </a:lnTo>
                  <a:lnTo>
                    <a:pt x="224" y="48"/>
                  </a:lnTo>
                  <a:lnTo>
                    <a:pt x="216" y="54"/>
                  </a:lnTo>
                  <a:lnTo>
                    <a:pt x="206" y="50"/>
                  </a:lnTo>
                  <a:lnTo>
                    <a:pt x="200" y="48"/>
                  </a:lnTo>
                  <a:lnTo>
                    <a:pt x="190" y="46"/>
                  </a:lnTo>
                  <a:lnTo>
                    <a:pt x="186" y="42"/>
                  </a:lnTo>
                  <a:lnTo>
                    <a:pt x="180" y="40"/>
                  </a:lnTo>
                  <a:lnTo>
                    <a:pt x="178" y="36"/>
                  </a:lnTo>
                  <a:lnTo>
                    <a:pt x="178" y="32"/>
                  </a:lnTo>
                  <a:lnTo>
                    <a:pt x="180" y="26"/>
                  </a:lnTo>
                  <a:lnTo>
                    <a:pt x="182" y="2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204" y="10"/>
                  </a:lnTo>
                  <a:lnTo>
                    <a:pt x="222" y="10"/>
                  </a:lnTo>
                  <a:lnTo>
                    <a:pt x="248" y="6"/>
                  </a:lnTo>
                  <a:lnTo>
                    <a:pt x="262" y="2"/>
                  </a:lnTo>
                  <a:lnTo>
                    <a:pt x="270" y="0"/>
                  </a:lnTo>
                  <a:lnTo>
                    <a:pt x="270" y="460"/>
                  </a:lnTo>
                  <a:close/>
                </a:path>
              </a:pathLst>
            </a:custGeom>
            <a:solidFill>
              <a:srgbClr val="008AB3"/>
            </a:solidFill>
            <a:ln w="635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595195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graphicFrame>
        <p:nvGraphicFramePr>
          <p:cNvPr id="279" name="Table 2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682403"/>
              </p:ext>
            </p:extLst>
          </p:nvPr>
        </p:nvGraphicFramePr>
        <p:xfrm>
          <a:off x="4238289" y="1594380"/>
          <a:ext cx="2902333" cy="118110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2902333"/>
              </a:tblGrid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employment or underemployment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scal crises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ilure of financial mechanism or institution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ergy price shock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set bubble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280" name="Group 279"/>
          <p:cNvGrpSpPr/>
          <p:nvPr/>
        </p:nvGrpSpPr>
        <p:grpSpPr>
          <a:xfrm>
            <a:off x="7390439" y="1457267"/>
            <a:ext cx="1430814" cy="2000943"/>
            <a:chOff x="10041273" y="1788246"/>
            <a:chExt cx="1908000" cy="2667924"/>
          </a:xfrm>
        </p:grpSpPr>
        <p:grpSp>
          <p:nvGrpSpPr>
            <p:cNvPr id="281" name="Group 280"/>
            <p:cNvGrpSpPr/>
            <p:nvPr/>
          </p:nvGrpSpPr>
          <p:grpSpPr>
            <a:xfrm>
              <a:off x="10041273" y="1788246"/>
              <a:ext cx="1908000" cy="339472"/>
              <a:chOff x="9855200" y="2166504"/>
              <a:chExt cx="2126002" cy="378259"/>
            </a:xfrm>
          </p:grpSpPr>
          <p:sp>
            <p:nvSpPr>
              <p:cNvPr id="294" name="Rectangle 293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008AB3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Economic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295" name="Rectangle 294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008AB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282" name="Group 281"/>
            <p:cNvGrpSpPr/>
            <p:nvPr/>
          </p:nvGrpSpPr>
          <p:grpSpPr>
            <a:xfrm>
              <a:off x="10041273" y="2370359"/>
              <a:ext cx="1908000" cy="339472"/>
              <a:chOff x="9855200" y="2166504"/>
              <a:chExt cx="2126002" cy="378259"/>
            </a:xfrm>
          </p:grpSpPr>
          <p:sp>
            <p:nvSpPr>
              <p:cNvPr id="292" name="Rectangle 291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41A441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Environment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293" name="Rectangle 292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41A44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283" name="Group 282"/>
            <p:cNvGrpSpPr/>
            <p:nvPr/>
          </p:nvGrpSpPr>
          <p:grpSpPr>
            <a:xfrm>
              <a:off x="10041273" y="2952472"/>
              <a:ext cx="1908000" cy="339472"/>
              <a:chOff x="9855200" y="2166504"/>
              <a:chExt cx="2126002" cy="378259"/>
            </a:xfrm>
          </p:grpSpPr>
          <p:sp>
            <p:nvSpPr>
              <p:cNvPr id="290" name="Rectangle 289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E29815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Geopolitic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291" name="Rectangle 290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E2981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284" name="Group 283"/>
            <p:cNvGrpSpPr/>
            <p:nvPr/>
          </p:nvGrpSpPr>
          <p:grpSpPr>
            <a:xfrm>
              <a:off x="10041273" y="3534585"/>
              <a:ext cx="1908000" cy="339472"/>
              <a:chOff x="9855200" y="2166504"/>
              <a:chExt cx="2126002" cy="378259"/>
            </a:xfrm>
          </p:grpSpPr>
          <p:sp>
            <p:nvSpPr>
              <p:cNvPr id="288" name="Rectangle 287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FF0000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Societ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289" name="Rectangle 288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285" name="Group 284"/>
            <p:cNvGrpSpPr/>
            <p:nvPr/>
          </p:nvGrpSpPr>
          <p:grpSpPr>
            <a:xfrm>
              <a:off x="10041273" y="4116698"/>
              <a:ext cx="1908000" cy="339472"/>
              <a:chOff x="9855200" y="2166504"/>
              <a:chExt cx="2126002" cy="378259"/>
            </a:xfrm>
          </p:grpSpPr>
          <p:sp>
            <p:nvSpPr>
              <p:cNvPr id="286" name="Rectangle 285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7030A0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Technologic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287" name="Rectangle 286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7030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</p:grpSp>
      <p:sp>
        <p:nvSpPr>
          <p:cNvPr id="296" name="Oval 295"/>
          <p:cNvSpPr>
            <a:spLocks noChangeAspect="1"/>
          </p:cNvSpPr>
          <p:nvPr/>
        </p:nvSpPr>
        <p:spPr>
          <a:xfrm>
            <a:off x="4047598" y="1611289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97" name="Oval 296"/>
          <p:cNvSpPr>
            <a:spLocks noChangeAspect="1"/>
          </p:cNvSpPr>
          <p:nvPr/>
        </p:nvSpPr>
        <p:spPr>
          <a:xfrm>
            <a:off x="4047598" y="1845690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98" name="Oval 297"/>
          <p:cNvSpPr>
            <a:spLocks noChangeAspect="1"/>
          </p:cNvSpPr>
          <p:nvPr/>
        </p:nvSpPr>
        <p:spPr>
          <a:xfrm>
            <a:off x="4047598" y="2080091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99" name="Oval 298"/>
          <p:cNvSpPr>
            <a:spLocks noChangeAspect="1"/>
          </p:cNvSpPr>
          <p:nvPr/>
        </p:nvSpPr>
        <p:spPr>
          <a:xfrm>
            <a:off x="4047598" y="2314493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00" name="Oval 299"/>
          <p:cNvSpPr>
            <a:spLocks noChangeAspect="1"/>
          </p:cNvSpPr>
          <p:nvPr/>
        </p:nvSpPr>
        <p:spPr>
          <a:xfrm>
            <a:off x="4047598" y="2548893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5</a:t>
            </a:r>
          </a:p>
        </p:txBody>
      </p:sp>
      <p:graphicFrame>
        <p:nvGraphicFramePr>
          <p:cNvPr id="301" name="Table 3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7390017"/>
              </p:ext>
            </p:extLst>
          </p:nvPr>
        </p:nvGraphicFramePr>
        <p:xfrm>
          <a:off x="4227101" y="3284525"/>
          <a:ext cx="2902333" cy="118110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2902333"/>
              </a:tblGrid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set bubble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ilure of financial mechanism or institution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employment or underemployment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scal crises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yber attacks</a:t>
                      </a:r>
                      <a:endParaRPr lang="en-US" sz="1100" dirty="0"/>
                    </a:p>
                  </a:txBody>
                  <a:tcPr marL="68571" marR="68571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02" name="Oval 301"/>
          <p:cNvSpPr>
            <a:spLocks noChangeAspect="1"/>
          </p:cNvSpPr>
          <p:nvPr/>
        </p:nvSpPr>
        <p:spPr>
          <a:xfrm>
            <a:off x="4036409" y="3301433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03" name="Oval 302"/>
          <p:cNvSpPr>
            <a:spLocks noChangeAspect="1"/>
          </p:cNvSpPr>
          <p:nvPr/>
        </p:nvSpPr>
        <p:spPr>
          <a:xfrm>
            <a:off x="4036409" y="3535835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04" name="Oval 303"/>
          <p:cNvSpPr>
            <a:spLocks noChangeAspect="1"/>
          </p:cNvSpPr>
          <p:nvPr/>
        </p:nvSpPr>
        <p:spPr>
          <a:xfrm>
            <a:off x="4036409" y="3770236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05" name="Oval 304"/>
          <p:cNvSpPr>
            <a:spLocks noChangeAspect="1"/>
          </p:cNvSpPr>
          <p:nvPr/>
        </p:nvSpPr>
        <p:spPr>
          <a:xfrm>
            <a:off x="4036409" y="4004637"/>
            <a:ext cx="179503" cy="179526"/>
          </a:xfrm>
          <a:prstGeom prst="ellipse">
            <a:avLst/>
          </a:prstGeom>
          <a:solidFill>
            <a:srgbClr val="008AB3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06" name="Oval 305"/>
          <p:cNvSpPr>
            <a:spLocks noChangeAspect="1"/>
          </p:cNvSpPr>
          <p:nvPr/>
        </p:nvSpPr>
        <p:spPr>
          <a:xfrm>
            <a:off x="4036409" y="4239038"/>
            <a:ext cx="179503" cy="179526"/>
          </a:xfrm>
          <a:prstGeom prst="ellipse">
            <a:avLst/>
          </a:prstGeom>
          <a:solidFill>
            <a:srgbClr val="7030A0"/>
          </a:solidFill>
          <a:ln w="19050" cap="flat" cmpd="sng" algn="ctr">
            <a:noFill/>
            <a:prstDash val="solid"/>
          </a:ln>
          <a:effectLst/>
        </p:spPr>
        <p:txBody>
          <a:bodyPr lIns="0" tIns="26996" rIns="0" bIns="0" rtlCol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49" name="Footer Placeholder 3"/>
          <p:cNvSpPr txBox="1">
            <a:spLocks/>
          </p:cNvSpPr>
          <p:nvPr/>
        </p:nvSpPr>
        <p:spPr>
          <a:xfrm>
            <a:off x="311903" y="4924801"/>
            <a:ext cx="8299956" cy="11327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2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kern="1200">
                <a:solidFill>
                  <a:srgbClr val="000066"/>
                </a:solidFill>
                <a:latin typeface="Frutiger 55 Roman"/>
                <a:ea typeface="+mn-ea"/>
                <a:cs typeface="+mn-cs"/>
              </a:defRPr>
            </a:lvl1pPr>
            <a:lvl2pPr marL="457124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48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71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94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18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44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867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91" algn="l" defTabSz="91424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mtClean="0"/>
              <a:t>Source: </a:t>
            </a:r>
            <a:r>
              <a:rPr lang="en-GB" smtClean="0">
                <a:latin typeface="Frutiger 45 Light" panose="020B0303030504020204" pitchFamily="34" charset="0"/>
              </a:rPr>
              <a:t>World Economic Forum, </a:t>
            </a:r>
            <a:r>
              <a:rPr lang="en-GB" i="1" smtClean="0">
                <a:latin typeface="Frutiger 45 Light" panose="020B0303030504020204" pitchFamily="34" charset="0"/>
              </a:rPr>
              <a:t>Global Risks Report 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sp>
        <p:nvSpPr>
          <p:cNvPr id="147" name="Rectangle 146"/>
          <p:cNvSpPr/>
          <p:nvPr/>
        </p:nvSpPr>
        <p:spPr bwMode="auto">
          <a:xfrm>
            <a:off x="171450" y="4819650"/>
            <a:ext cx="8791575" cy="247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148" name="Rectangle 147"/>
          <p:cNvSpPr/>
          <p:nvPr/>
        </p:nvSpPr>
        <p:spPr bwMode="auto">
          <a:xfrm>
            <a:off x="104775" y="4008776"/>
            <a:ext cx="133350" cy="83945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319" tIns="45656" rIns="91319" bIns="456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184"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4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235015" y="1044950"/>
            <a:ext cx="8834759" cy="38804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17" y="258027"/>
            <a:ext cx="7593107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35478B"/>
                </a:solidFill>
              </a:rPr>
              <a:t>The Global Risks Report 2016</a:t>
            </a:r>
            <a:r>
              <a:rPr lang="en-US" sz="900" dirty="0">
                <a:solidFill>
                  <a:srgbClr val="35478B"/>
                </a:solidFill>
              </a:rPr>
              <a:t/>
            </a:r>
            <a:br>
              <a:rPr lang="en-US" sz="900" dirty="0">
                <a:solidFill>
                  <a:srgbClr val="35478B"/>
                </a:solidFill>
              </a:rPr>
            </a:br>
            <a:r>
              <a:rPr lang="en-US" sz="2000" b="1" dirty="0">
                <a:solidFill>
                  <a:srgbClr val="35478B"/>
                </a:solidFill>
              </a:rPr>
              <a:t>The Resilience Imperative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589361" y="4735773"/>
            <a:ext cx="675564" cy="379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38" name="Rectangle 37"/>
          <p:cNvSpPr/>
          <p:nvPr/>
        </p:nvSpPr>
        <p:spPr>
          <a:xfrm>
            <a:off x="430306" y="1044948"/>
            <a:ext cx="1550894" cy="1787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234997" y="1134333"/>
            <a:ext cx="2831976" cy="1213093"/>
          </a:xfrm>
          <a:prstGeom prst="rect">
            <a:avLst/>
          </a:prstGeom>
          <a:solidFill>
            <a:srgbClr val="E6E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3262282" y="1134333"/>
            <a:ext cx="2831976" cy="1213093"/>
          </a:xfrm>
          <a:prstGeom prst="rect">
            <a:avLst/>
          </a:prstGeom>
          <a:solidFill>
            <a:srgbClr val="F6D3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42" name="Rectangle 41"/>
          <p:cNvSpPr/>
          <p:nvPr/>
        </p:nvSpPr>
        <p:spPr>
          <a:xfrm>
            <a:off x="6246658" y="1134333"/>
            <a:ext cx="2831976" cy="1213093"/>
          </a:xfrm>
          <a:prstGeom prst="rect">
            <a:avLst/>
          </a:prstGeom>
          <a:solidFill>
            <a:srgbClr val="F4E9F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3719745" y="1177857"/>
            <a:ext cx="2374514" cy="750210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algn="ctr"/>
            <a:r>
              <a:rPr lang="en-GB" sz="1400" dirty="0">
                <a:solidFill>
                  <a:srgbClr val="C00000"/>
                </a:solidFill>
              </a:rPr>
              <a:t>Close to 60 million people are on the move (refugees and </a:t>
            </a:r>
            <a:r>
              <a:rPr lang="en-GB" sz="1400">
                <a:solidFill>
                  <a:srgbClr val="C00000"/>
                </a:solidFill>
              </a:rPr>
              <a:t>internally displaced)</a:t>
            </a:r>
            <a:endParaRPr lang="en-GB" dirty="0"/>
          </a:p>
        </p:txBody>
      </p:sp>
      <p:sp>
        <p:nvSpPr>
          <p:cNvPr id="43" name="TextBox 42"/>
          <p:cNvSpPr txBox="1"/>
          <p:nvPr/>
        </p:nvSpPr>
        <p:spPr>
          <a:xfrm>
            <a:off x="559293" y="1177875"/>
            <a:ext cx="2507680" cy="1188791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algn="ctr"/>
            <a:r>
              <a:rPr lang="en-GB" sz="1400" dirty="0">
                <a:solidFill>
                  <a:srgbClr val="006600"/>
                </a:solidFill>
              </a:rPr>
              <a:t>The year 2015 is estimated to be warmest on record –</a:t>
            </a:r>
          </a:p>
          <a:p>
            <a:pPr algn="ctr"/>
            <a:r>
              <a:rPr lang="en-GB" sz="1400" dirty="0">
                <a:solidFill>
                  <a:srgbClr val="006600"/>
                </a:solidFill>
              </a:rPr>
              <a:t>global average surface temperature 1° Celsius above the pre-industrial era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604986" y="1134333"/>
            <a:ext cx="2464770" cy="1188791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algn="ctr"/>
            <a:r>
              <a:rPr lang="en-GB" sz="1400" dirty="0">
                <a:solidFill>
                  <a:srgbClr val="501979"/>
                </a:solidFill>
              </a:rPr>
              <a:t>Cybercrime estimated to have cost the global economy over US$450 billion in 2014– close to the  GDP of Switzerland</a:t>
            </a:r>
          </a:p>
        </p:txBody>
      </p:sp>
      <p:pic>
        <p:nvPicPr>
          <p:cNvPr id="45" name="Picture 3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"/>
          <a:stretch/>
        </p:blipFill>
        <p:spPr bwMode="auto">
          <a:xfrm>
            <a:off x="6377992" y="1259467"/>
            <a:ext cx="349125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762" y="1766752"/>
            <a:ext cx="369473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2958" y="1766752"/>
            <a:ext cx="393158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7072" y="1271340"/>
            <a:ext cx="364965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438" y="1271340"/>
            <a:ext cx="355295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410" y="1709819"/>
            <a:ext cx="362323" cy="36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ouble Brace 7"/>
          <p:cNvSpPr/>
          <p:nvPr/>
        </p:nvSpPr>
        <p:spPr>
          <a:xfrm>
            <a:off x="3559536" y="2594610"/>
            <a:ext cx="5510220" cy="617220"/>
          </a:xfrm>
          <a:prstGeom prst="bracePair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304" tIns="45648" rIns="91304" bIns="45648" rtlCol="0" anchor="ctr"/>
          <a:lstStyle/>
          <a:p>
            <a:pPr algn="ctr"/>
            <a:endParaRPr lang="en-GB">
              <a:solidFill>
                <a:srgbClr val="003366"/>
              </a:solidFill>
            </a:endParaRPr>
          </a:p>
        </p:txBody>
      </p:sp>
      <p:sp>
        <p:nvSpPr>
          <p:cNvPr id="9" name="Double Brace 8"/>
          <p:cNvSpPr/>
          <p:nvPr/>
        </p:nvSpPr>
        <p:spPr>
          <a:xfrm>
            <a:off x="5029200" y="2903220"/>
            <a:ext cx="1069848" cy="914400"/>
          </a:xfrm>
          <a:prstGeom prst="bracePair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12" name="Left Brace 11"/>
          <p:cNvSpPr/>
          <p:nvPr/>
        </p:nvSpPr>
        <p:spPr>
          <a:xfrm rot="16200000">
            <a:off x="4348878" y="-1514048"/>
            <a:ext cx="543752" cy="8290784"/>
          </a:xfrm>
          <a:prstGeom prst="leftBrace">
            <a:avLst/>
          </a:prstGeom>
          <a:ln w="31750" cmpd="sng">
            <a:solidFill>
              <a:srgbClr val="004D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1705897" y="2944922"/>
            <a:ext cx="5973782" cy="830997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algn="ctr"/>
            <a:r>
              <a:rPr lang="en-US" sz="1600" i="1" kern="0" spc="-30" dirty="0">
                <a:solidFill>
                  <a:srgbClr val="35478B"/>
                </a:solidFill>
                <a:latin typeface="+mj-lt"/>
                <a:ea typeface="+mj-ea"/>
                <a:cs typeface="+mj-cs"/>
              </a:rPr>
              <a:t>As risks are becoming more imminent and increasingly felt by societies, institutions, and economies, there is an urgent need to advance resilience. 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1733546" y="4327238"/>
            <a:ext cx="1714995" cy="598113"/>
            <a:chOff x="1205753" y="4322326"/>
            <a:chExt cx="1714995" cy="598113"/>
          </a:xfrm>
        </p:grpSpPr>
        <p:sp>
          <p:nvSpPr>
            <p:cNvPr id="52" name="Rectangle 51"/>
            <p:cNvSpPr/>
            <p:nvPr/>
          </p:nvSpPr>
          <p:spPr>
            <a:xfrm>
              <a:off x="1205753" y="4322326"/>
              <a:ext cx="1611297" cy="598113"/>
            </a:xfrm>
            <a:prstGeom prst="rect">
              <a:avLst/>
            </a:prstGeom>
            <a:solidFill>
              <a:srgbClr val="EFF7FF"/>
            </a:solidFill>
            <a:ln>
              <a:solidFill>
                <a:srgbClr val="0033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205753" y="4436716"/>
              <a:ext cx="1714995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CH" dirty="0" err="1" smtClean="0">
                  <a:solidFill>
                    <a:srgbClr val="003366"/>
                  </a:solidFill>
                </a:rPr>
                <a:t>Societies</a:t>
              </a:r>
              <a:endParaRPr lang="en-GB" dirty="0">
                <a:solidFill>
                  <a:srgbClr val="003366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3559537" y="4329707"/>
            <a:ext cx="1714995" cy="598113"/>
            <a:chOff x="1205753" y="4322326"/>
            <a:chExt cx="1714995" cy="598113"/>
          </a:xfrm>
        </p:grpSpPr>
        <p:sp>
          <p:nvSpPr>
            <p:cNvPr id="59" name="Rectangle 58"/>
            <p:cNvSpPr/>
            <p:nvPr/>
          </p:nvSpPr>
          <p:spPr>
            <a:xfrm>
              <a:off x="1205753" y="4322326"/>
              <a:ext cx="1611297" cy="598113"/>
            </a:xfrm>
            <a:prstGeom prst="rect">
              <a:avLst/>
            </a:prstGeom>
            <a:solidFill>
              <a:srgbClr val="EFF7FF"/>
            </a:solidFill>
            <a:ln>
              <a:solidFill>
                <a:srgbClr val="0033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205753" y="4436716"/>
              <a:ext cx="1714995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CH" dirty="0" smtClean="0">
                  <a:solidFill>
                    <a:srgbClr val="003366"/>
                  </a:solidFill>
                </a:rPr>
                <a:t>Institutions</a:t>
              </a:r>
              <a:endParaRPr lang="en-GB" dirty="0">
                <a:solidFill>
                  <a:srgbClr val="003366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457150" y="4329707"/>
            <a:ext cx="1714995" cy="598113"/>
            <a:chOff x="1205753" y="4322326"/>
            <a:chExt cx="1714995" cy="598113"/>
          </a:xfrm>
        </p:grpSpPr>
        <p:sp>
          <p:nvSpPr>
            <p:cNvPr id="62" name="Rectangle 61"/>
            <p:cNvSpPr/>
            <p:nvPr/>
          </p:nvSpPr>
          <p:spPr>
            <a:xfrm>
              <a:off x="1205753" y="4322326"/>
              <a:ext cx="1611297" cy="598113"/>
            </a:xfrm>
            <a:prstGeom prst="rect">
              <a:avLst/>
            </a:prstGeom>
            <a:solidFill>
              <a:srgbClr val="EFF7FF"/>
            </a:solidFill>
            <a:ln>
              <a:solidFill>
                <a:srgbClr val="0033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205753" y="4436716"/>
              <a:ext cx="1714995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CH" dirty="0" smtClean="0">
                  <a:solidFill>
                    <a:srgbClr val="003366"/>
                  </a:solidFill>
                </a:rPr>
                <a:t>Business</a:t>
              </a:r>
              <a:endParaRPr lang="en-GB" dirty="0">
                <a:solidFill>
                  <a:srgbClr val="003366"/>
                </a:solidFill>
              </a:endParaRPr>
            </a:p>
          </p:txBody>
        </p:sp>
      </p:grpSp>
      <p:sp>
        <p:nvSpPr>
          <p:cNvPr id="64" name="Plus 63"/>
          <p:cNvSpPr/>
          <p:nvPr/>
        </p:nvSpPr>
        <p:spPr>
          <a:xfrm>
            <a:off x="3259009" y="4444099"/>
            <a:ext cx="379061" cy="391478"/>
          </a:xfrm>
          <a:prstGeom prst="mathPlus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65" name="Plus 64"/>
          <p:cNvSpPr/>
          <p:nvPr/>
        </p:nvSpPr>
        <p:spPr>
          <a:xfrm>
            <a:off x="5136238" y="4444099"/>
            <a:ext cx="379061" cy="391478"/>
          </a:xfrm>
          <a:prstGeom prst="mathPlus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sp>
        <p:nvSpPr>
          <p:cNvPr id="67" name="Left Brace 66"/>
          <p:cNvSpPr/>
          <p:nvPr/>
        </p:nvSpPr>
        <p:spPr>
          <a:xfrm rot="16200000" flipH="1">
            <a:off x="4416846" y="-165548"/>
            <a:ext cx="407851" cy="8290784"/>
          </a:xfrm>
          <a:prstGeom prst="leftBrace">
            <a:avLst/>
          </a:prstGeom>
          <a:ln w="31750" cmpd="sng">
            <a:solidFill>
              <a:srgbClr val="004D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1511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00" y="258027"/>
            <a:ext cx="8240233" cy="598620"/>
          </a:xfrm>
        </p:spPr>
        <p:txBody>
          <a:bodyPr>
            <a:noAutofit/>
          </a:bodyPr>
          <a:lstStyle/>
          <a:p>
            <a:r>
              <a:rPr lang="en-US" sz="1200" dirty="0">
                <a:solidFill>
                  <a:srgbClr val="35478B"/>
                </a:solidFill>
              </a:rPr>
              <a:t>The Global Risks Report 2016</a:t>
            </a:r>
            <a:br>
              <a:rPr lang="en-US" sz="1200" dirty="0">
                <a:solidFill>
                  <a:srgbClr val="35478B"/>
                </a:solidFill>
              </a:rPr>
            </a:br>
            <a:r>
              <a:rPr lang="en-US" sz="2000" b="1" dirty="0">
                <a:solidFill>
                  <a:srgbClr val="35478B"/>
                </a:solidFill>
              </a:rPr>
              <a:t>Interactive tools</a:t>
            </a:r>
          </a:p>
        </p:txBody>
      </p:sp>
      <p:sp>
        <p:nvSpPr>
          <p:cNvPr id="2" name="Rectangle 1"/>
          <p:cNvSpPr/>
          <p:nvPr/>
        </p:nvSpPr>
        <p:spPr>
          <a:xfrm>
            <a:off x="6817145" y="1039092"/>
            <a:ext cx="364723" cy="2277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4" tIns="45648" rIns="91304" bIns="45648" rtlCol="0" anchor="ctr"/>
          <a:lstStyle/>
          <a:p>
            <a:pPr algn="ctr"/>
            <a:endParaRPr lang="en-GB"/>
          </a:p>
        </p:txBody>
      </p:sp>
      <p:pic>
        <p:nvPicPr>
          <p:cNvPr id="1026" name="Picture 2">
            <a:hlinkClick r:id="rId3"/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7935" r="13315" b="4695"/>
          <a:stretch/>
        </p:blipFill>
        <p:spPr bwMode="auto">
          <a:xfrm>
            <a:off x="265815" y="2557962"/>
            <a:ext cx="2721936" cy="2194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04054" y="1174242"/>
            <a:ext cx="2690037" cy="1200329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r>
              <a:rPr lang="en-GB" dirty="0" smtClean="0"/>
              <a:t>Please go online </a:t>
            </a:r>
            <a:r>
              <a:rPr lang="en-GB" u="sng" dirty="0">
                <a:hlinkClick r:id="rId5"/>
              </a:rPr>
              <a:t>http://wef.ch/risks2016</a:t>
            </a:r>
            <a:r>
              <a:rPr lang="en-GB" dirty="0" smtClean="0"/>
              <a:t> to explore the data</a:t>
            </a:r>
            <a:endParaRPr lang="en-GB" dirty="0"/>
          </a:p>
          <a:p>
            <a:endParaRPr lang="en-GB" dirty="0"/>
          </a:p>
        </p:txBody>
      </p:sp>
      <p:pic>
        <p:nvPicPr>
          <p:cNvPr id="2050" name="Picture 2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629" y="1174224"/>
            <a:ext cx="2548653" cy="3485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663" y="1141976"/>
            <a:ext cx="2665952" cy="4001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308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26" y="2657475"/>
            <a:ext cx="4143375" cy="1335088"/>
          </a:xfrm>
        </p:spPr>
        <p:txBody>
          <a:bodyPr/>
          <a:lstStyle/>
          <a:p>
            <a:pPr algn="ctr">
              <a:spcAft>
                <a:spcPts val="0"/>
              </a:spcAft>
            </a:pPr>
            <a:r>
              <a:rPr lang="en-US" sz="2400" dirty="0">
                <a:solidFill>
                  <a:srgbClr val="35478B"/>
                </a:solidFill>
              </a:rPr>
              <a:t>Thank you for your attention</a:t>
            </a:r>
          </a:p>
          <a:p>
            <a:pPr algn="ctr">
              <a:spcAft>
                <a:spcPts val="0"/>
              </a:spcAft>
            </a:pPr>
            <a:endParaRPr lang="en-US" dirty="0">
              <a:solidFill>
                <a:srgbClr val="35478B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151364" y="2267890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151364" y="3686173"/>
            <a:ext cx="5992636" cy="0"/>
          </a:xfrm>
          <a:prstGeom prst="line">
            <a:avLst/>
          </a:prstGeom>
          <a:ln w="6350" cmpd="sng"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540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225761" y="1226961"/>
            <a:ext cx="2886541" cy="3176621"/>
            <a:chOff x="226263" y="1066819"/>
            <a:chExt cx="3001017" cy="3503394"/>
          </a:xfrm>
        </p:grpSpPr>
        <p:pic>
          <p:nvPicPr>
            <p:cNvPr id="26" name="Picture 3" descr="C:\Users\CKO\Desktop\GRR 2006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263" y="1066819"/>
              <a:ext cx="1656342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C:\Users\CKO\Desktop\Pages from Global_Risks_2007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16" y="1154158"/>
              <a:ext cx="1653766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5" descr="S:\CSI\2. GLOBAL COMPETITIVENESS NETWORK\Projects\Global Risk Reports\1. Analysis\4. Global Risks Reports\Pages from Global Risks-FIN 2008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840" y="1266301"/>
              <a:ext cx="1653766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6" descr="S:\CSI\2. GLOBAL COMPETITIVENESS NETWORK\Projects\Global Risk Reports\1. Analysis\4. Global Risks Reports\Pages from Global_Risks_2009_A4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888" y="1371795"/>
              <a:ext cx="1654850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7" descr="S:\CSI\2. GLOBAL COMPETITIVENESS NETWORK\Projects\Global Risk Reports\1. Analysis\4. Global Risks Reports\Pages from Global Risks 2010_final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489" y="1445209"/>
              <a:ext cx="1654850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8" descr="S:\CSI\2. GLOBAL COMPETITIVENESS NETWORK\Projects\Global Risk Reports\1. Analysis\4. Global Risks Reports\Pages from Global Risks Report 2011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784" y="1561576"/>
              <a:ext cx="1655054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9" descr="S:\CSI\2. GLOBAL COMPETITIVENESS NETWORK\Projects\Global Risk Reports\1. Analysis\4. Global Risks Reports\Pages from WEF_GlobalRisks_Report_2012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4434" y="1650223"/>
              <a:ext cx="1654850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C:\Users\CKO\Desktop\Pages from WEF_GlobalRisks_Report_2013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5099" y="1772134"/>
              <a:ext cx="1654850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" descr="S:\CSI\2. GLOBAL COMPETITIVENESS NETWORK\Projects\Global Risk Reports\8. Launch\Global Risks 2014 PPT\Global_Risks_2014_cover_ (2)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3379" y="1903440"/>
              <a:ext cx="1642454" cy="23400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34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0672" y="2027734"/>
              <a:ext cx="1662132" cy="237626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390" r="25065"/>
            <a:stretch/>
          </p:blipFill>
          <p:spPr>
            <a:xfrm>
              <a:off x="1577914" y="2194213"/>
              <a:ext cx="1649366" cy="2376000"/>
            </a:xfrm>
            <a:prstGeom prst="rect">
              <a:avLst/>
            </a:prstGeom>
            <a:ln w="3175">
              <a:solidFill>
                <a:schemeClr val="tx2"/>
              </a:solidFill>
            </a:ln>
          </p:spPr>
        </p:pic>
      </p:grpSp>
      <p:sp>
        <p:nvSpPr>
          <p:cNvPr id="2" name="Rectangle 1"/>
          <p:cNvSpPr/>
          <p:nvPr/>
        </p:nvSpPr>
        <p:spPr>
          <a:xfrm>
            <a:off x="3321190" y="1054069"/>
            <a:ext cx="5727939" cy="3662546"/>
          </a:xfrm>
          <a:prstGeom prst="rect">
            <a:avLst/>
          </a:prstGeom>
        </p:spPr>
        <p:txBody>
          <a:bodyPr wrap="square" lIns="91282" tIns="45636" rIns="91282" bIns="45636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kern="800" spc="-20" dirty="0">
                <a:solidFill>
                  <a:srgbClr val="000066"/>
                </a:solidFill>
              </a:rPr>
              <a:t>Now in its 11th edition, the Global Risks Report annually highlights the most significant long-term global risks, drawing on the perspectives of almost 750 experts and decision-makers. </a:t>
            </a:r>
          </a:p>
          <a:p>
            <a:pPr defTabSz="912804">
              <a:spcBef>
                <a:spcPts val="150"/>
              </a:spcBef>
              <a:spcAft>
                <a:spcPts val="600"/>
              </a:spcAft>
            </a:pPr>
            <a:r>
              <a:rPr lang="en-GB" sz="1200" kern="800" spc="-20" dirty="0">
                <a:solidFill>
                  <a:srgbClr val="000066"/>
                </a:solidFill>
              </a:rPr>
              <a:t>This latest edition has an increased focus from risk identification to risk anticipation and mitigation to resilience.</a:t>
            </a:r>
          </a:p>
          <a:p>
            <a:pPr defTabSz="912804">
              <a:spcBef>
                <a:spcPts val="150"/>
              </a:spcBef>
              <a:spcAft>
                <a:spcPts val="600"/>
              </a:spcAft>
            </a:pPr>
            <a:endParaRPr lang="en-GB" sz="1200" kern="800" spc="-20" dirty="0">
              <a:solidFill>
                <a:srgbClr val="000066"/>
              </a:solidFill>
            </a:endParaRPr>
          </a:p>
          <a:p>
            <a:pPr>
              <a:spcAft>
                <a:spcPts val="900"/>
              </a:spcAft>
            </a:pPr>
            <a:r>
              <a:rPr lang="en-GB" sz="1200" kern="800" spc="-20" dirty="0">
                <a:solidFill>
                  <a:srgbClr val="000066"/>
                </a:solidFill>
              </a:rPr>
              <a:t>The Global Risks Report 2016 report is produced in collaboration with Strategic Partners of the World Economic Forum:</a:t>
            </a:r>
          </a:p>
          <a:p>
            <a:pPr marL="285246" indent="-285246">
              <a:buFont typeface="Wingdings" panose="05000000000000000000" pitchFamily="2" charset="2"/>
              <a:buChar char="v"/>
            </a:pPr>
            <a:r>
              <a:rPr lang="en-GB" sz="1200" kern="800" spc="-20" dirty="0">
                <a:solidFill>
                  <a:srgbClr val="000066"/>
                </a:solidFill>
              </a:rPr>
              <a:t>Marsh &amp; McLennan Companies</a:t>
            </a:r>
          </a:p>
          <a:p>
            <a:pPr marL="285246" indent="-285246">
              <a:spcAft>
                <a:spcPts val="900"/>
              </a:spcAft>
              <a:buFont typeface="Wingdings" panose="05000000000000000000" pitchFamily="2" charset="2"/>
              <a:buChar char="v"/>
            </a:pPr>
            <a:r>
              <a:rPr lang="en-GB" sz="1200" kern="800" spc="-20" dirty="0">
                <a:solidFill>
                  <a:srgbClr val="000066"/>
                </a:solidFill>
              </a:rPr>
              <a:t>Zurich Insurance Group</a:t>
            </a:r>
          </a:p>
          <a:p>
            <a:pPr>
              <a:lnSpc>
                <a:spcPct val="100000"/>
              </a:lnSpc>
            </a:pPr>
            <a:r>
              <a:rPr lang="en-GB" sz="1200" kern="800" spc="-20" dirty="0">
                <a:solidFill>
                  <a:srgbClr val="000066"/>
                </a:solidFill>
              </a:rPr>
              <a:t>Academic Advisers to the report are:</a:t>
            </a:r>
          </a:p>
          <a:p>
            <a:pPr marL="285246" indent="-285246">
              <a:buFont typeface="Wingdings" panose="05000000000000000000" pitchFamily="2" charset="2"/>
              <a:buChar char="v"/>
            </a:pPr>
            <a:r>
              <a:rPr lang="en-GB" sz="1200" kern="800" spc="-20" dirty="0">
                <a:solidFill>
                  <a:srgbClr val="000066"/>
                </a:solidFill>
              </a:rPr>
              <a:t>National University of Singapore</a:t>
            </a:r>
          </a:p>
          <a:p>
            <a:pPr marL="285246" indent="-285246">
              <a:buFont typeface="Wingdings" panose="05000000000000000000" pitchFamily="2" charset="2"/>
              <a:buChar char="v"/>
            </a:pPr>
            <a:r>
              <a:rPr lang="en-GB" sz="1200" kern="800" spc="-20" dirty="0">
                <a:solidFill>
                  <a:srgbClr val="000066"/>
                </a:solidFill>
              </a:rPr>
              <a:t>Oxford Martin School, University of Oxford</a:t>
            </a:r>
          </a:p>
          <a:p>
            <a:pPr marL="285246" indent="-285246">
              <a:spcAft>
                <a:spcPts val="900"/>
              </a:spcAft>
              <a:buFont typeface="Wingdings" panose="05000000000000000000" pitchFamily="2" charset="2"/>
              <a:buChar char="v"/>
            </a:pPr>
            <a:r>
              <a:rPr lang="en-GB" sz="1200" kern="800" spc="-20" dirty="0">
                <a:solidFill>
                  <a:srgbClr val="000066"/>
                </a:solidFill>
              </a:rPr>
              <a:t>Wharton Risk Management and Decision Processes </a:t>
            </a:r>
            <a:r>
              <a:rPr lang="en-GB" sz="1200" kern="800" spc="-20" dirty="0" err="1">
                <a:solidFill>
                  <a:srgbClr val="000066"/>
                </a:solidFill>
              </a:rPr>
              <a:t>Center</a:t>
            </a:r>
            <a:r>
              <a:rPr lang="en-GB" sz="1200" kern="800" spc="-20" dirty="0">
                <a:solidFill>
                  <a:srgbClr val="000066"/>
                </a:solidFill>
              </a:rPr>
              <a:t>, University of Pennsylvania</a:t>
            </a:r>
          </a:p>
          <a:p>
            <a:pPr>
              <a:lnSpc>
                <a:spcPct val="100000"/>
              </a:lnSpc>
            </a:pPr>
            <a:r>
              <a:rPr lang="en-GB" sz="1200" kern="800" spc="-20" dirty="0">
                <a:solidFill>
                  <a:srgbClr val="000066"/>
                </a:solidFill>
              </a:rPr>
              <a:t>And the Advisory Board of the Global Risks Report 2016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</a:pPr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r>
              <a:rPr lang="en-US" sz="2400" b="1" dirty="0">
                <a:solidFill>
                  <a:srgbClr val="000066"/>
                </a:solidFill>
              </a:rPr>
              <a:t/>
            </a:r>
            <a:br>
              <a:rPr lang="en-US" sz="2400" b="1" dirty="0">
                <a:solidFill>
                  <a:srgbClr val="000066"/>
                </a:solidFill>
              </a:rPr>
            </a:br>
            <a:r>
              <a:rPr lang="en-US" sz="2000" b="1" dirty="0">
                <a:solidFill>
                  <a:srgbClr val="000066"/>
                </a:solidFill>
              </a:rPr>
              <a:t>Governance structure</a:t>
            </a:r>
          </a:p>
        </p:txBody>
      </p:sp>
    </p:spTree>
    <p:extLst>
      <p:ext uri="{BB962C8B-B14F-4D97-AF65-F5344CB8AC3E}">
        <p14:creationId xmlns:p14="http://schemas.microsoft.com/office/powerpoint/2010/main" val="414075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br>
              <a:rPr lang="en-US" sz="1200" dirty="0">
                <a:solidFill>
                  <a:srgbClr val="000066"/>
                </a:solidFill>
              </a:rPr>
            </a:br>
            <a:r>
              <a:rPr lang="en-US" sz="2000" b="1" dirty="0">
                <a:solidFill>
                  <a:srgbClr val="000066"/>
                </a:solidFill>
              </a:rPr>
              <a:t>Methodology of the Global Risks Report and Surve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lvl="0"/>
            <a:r>
              <a:rPr lang="en-GB" dirty="0"/>
              <a:t>Source: </a:t>
            </a:r>
            <a:r>
              <a:rPr lang="en-GB" dirty="0">
                <a:latin typeface="Frutiger 45 Light" panose="020B0303030504020204" pitchFamily="34" charset="0"/>
              </a:rPr>
              <a:t>World Economic Forum, </a:t>
            </a:r>
            <a:r>
              <a:rPr lang="en-GB" i="1" dirty="0">
                <a:latin typeface="Frutiger 45 Light" panose="020B0303030504020204" pitchFamily="34" charset="0"/>
              </a:rPr>
              <a:t>Global Risks Report </a:t>
            </a:r>
            <a:r>
              <a:rPr lang="en-GB" i="1" dirty="0" smtClean="0">
                <a:latin typeface="Frutiger 45 Light" panose="020B0303030504020204" pitchFamily="34" charset="0"/>
              </a:rPr>
              <a:t>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3503" y="3018746"/>
            <a:ext cx="7557364" cy="438581"/>
          </a:xfrm>
          <a:prstGeom prst="rect">
            <a:avLst/>
          </a:prstGeom>
        </p:spPr>
        <p:txBody>
          <a:bodyPr wrap="square" lIns="68464" tIns="34231" rIns="68464" bIns="34231">
            <a:sp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“…an uncertain event or condition that, if it occurs, can cause significant negative impact for several countries or industries within the next 10 years.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3504" y="2747241"/>
            <a:ext cx="1284629" cy="253906"/>
          </a:xfrm>
          <a:prstGeom prst="rect">
            <a:avLst/>
          </a:prstGeom>
          <a:noFill/>
        </p:spPr>
        <p:txBody>
          <a:bodyPr wrap="none" lIns="68464" tIns="34231" rIns="68464" bIns="34231" rtlCol="0">
            <a:spAutoFit/>
          </a:bodyPr>
          <a:lstStyle/>
          <a:p>
            <a:pPr algn="l"/>
            <a:r>
              <a:rPr lang="en-US" sz="1200" b="1" dirty="0">
                <a:solidFill>
                  <a:srgbClr val="000066"/>
                </a:solidFill>
              </a:rPr>
              <a:t>29 Global Risks</a:t>
            </a:r>
          </a:p>
        </p:txBody>
      </p:sp>
      <p:sp>
        <p:nvSpPr>
          <p:cNvPr id="2" name="Rectangle 1"/>
          <p:cNvSpPr/>
          <p:nvPr/>
        </p:nvSpPr>
        <p:spPr>
          <a:xfrm>
            <a:off x="573504" y="4276783"/>
            <a:ext cx="7557363" cy="438581"/>
          </a:xfrm>
          <a:prstGeom prst="rect">
            <a:avLst/>
          </a:prstGeom>
        </p:spPr>
        <p:txBody>
          <a:bodyPr wrap="square" lIns="68464" tIns="34231" rIns="68464" bIns="34231">
            <a:sp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“…a long-term pattern that is currently taking place and that could contribute to amplifying global risks and/or altering the relationship between them.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3504" y="4022850"/>
            <a:ext cx="1380360" cy="253906"/>
          </a:xfrm>
          <a:prstGeom prst="rect">
            <a:avLst/>
          </a:prstGeom>
          <a:noFill/>
        </p:spPr>
        <p:txBody>
          <a:bodyPr wrap="none" lIns="68464" tIns="34231" rIns="68464" bIns="34231" rtlCol="0">
            <a:spAutoFit/>
          </a:bodyPr>
          <a:lstStyle/>
          <a:p>
            <a:pPr algn="l"/>
            <a:r>
              <a:rPr lang="en-US" sz="1200" b="1" dirty="0">
                <a:solidFill>
                  <a:srgbClr val="000066"/>
                </a:solidFill>
              </a:rPr>
              <a:t>13 Global Trends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643346" y="3580913"/>
            <a:ext cx="1430814" cy="254604"/>
            <a:chOff x="764771" y="2282494"/>
            <a:chExt cx="1908000" cy="339472"/>
          </a:xfrm>
        </p:grpSpPr>
        <p:sp>
          <p:nvSpPr>
            <p:cNvPr id="25" name="Rectangle 24"/>
            <p:cNvSpPr/>
            <p:nvPr/>
          </p:nvSpPr>
          <p:spPr bwMode="auto">
            <a:xfrm>
              <a:off x="764771" y="2282494"/>
              <a:ext cx="1908000" cy="339472"/>
            </a:xfrm>
            <a:prstGeom prst="rect">
              <a:avLst/>
            </a:prstGeom>
            <a:solidFill>
              <a:srgbClr val="008AB3">
                <a:alpha val="1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00" dirty="0">
                  <a:latin typeface="Frutiger 45 Light" panose="020B0303030504020204" pitchFamily="34" charset="0"/>
                </a:rPr>
                <a:t>Economic</a:t>
              </a:r>
              <a:endParaRPr lang="en-US" sz="1000" dirty="0">
                <a:latin typeface="Frutiger 45 Light" panose="020B030303050402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764771" y="2282494"/>
              <a:ext cx="339472" cy="339472"/>
            </a:xfrm>
            <a:prstGeom prst="rect">
              <a:avLst/>
            </a:prstGeom>
            <a:solidFill>
              <a:srgbClr val="008AB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latin typeface="Frutiger 55 Roman" pitchFamily="34" charset="0"/>
                </a:rPr>
                <a:t>9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131908" y="3580913"/>
            <a:ext cx="1430814" cy="254604"/>
            <a:chOff x="2749779" y="2282494"/>
            <a:chExt cx="1908000" cy="339472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749779" y="2282494"/>
              <a:ext cx="1908000" cy="339472"/>
            </a:xfrm>
            <a:prstGeom prst="rect">
              <a:avLst/>
            </a:prstGeom>
            <a:solidFill>
              <a:srgbClr val="41A441">
                <a:alpha val="1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00" dirty="0">
                  <a:latin typeface="Frutiger 45 Light" panose="020B0303030504020204" pitchFamily="34" charset="0"/>
                </a:rPr>
                <a:t>Environmental</a:t>
              </a:r>
              <a:endParaRPr lang="en-US" sz="1000" dirty="0">
                <a:latin typeface="Frutiger 45 Light" panose="020B030303050402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2749779" y="2282494"/>
              <a:ext cx="339472" cy="339472"/>
            </a:xfrm>
            <a:prstGeom prst="rect">
              <a:avLst/>
            </a:prstGeom>
            <a:solidFill>
              <a:srgbClr val="41A44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latin typeface="Frutiger 55 Roman" pitchFamily="34" charset="0"/>
                </a:rPr>
                <a:t>5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20471" y="3580913"/>
            <a:ext cx="1430814" cy="254604"/>
            <a:chOff x="4734787" y="2282494"/>
            <a:chExt cx="1908000" cy="339472"/>
          </a:xfrm>
        </p:grpSpPr>
        <p:sp>
          <p:nvSpPr>
            <p:cNvPr id="21" name="Rectangle 20"/>
            <p:cNvSpPr/>
            <p:nvPr/>
          </p:nvSpPr>
          <p:spPr bwMode="auto">
            <a:xfrm>
              <a:off x="4734787" y="2282494"/>
              <a:ext cx="1908000" cy="339472"/>
            </a:xfrm>
            <a:prstGeom prst="rect">
              <a:avLst/>
            </a:prstGeom>
            <a:solidFill>
              <a:srgbClr val="E29815">
                <a:alpha val="1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00" dirty="0">
                  <a:latin typeface="Frutiger 45 Light" panose="020B0303030504020204" pitchFamily="34" charset="0"/>
                </a:rPr>
                <a:t>Geopolitical</a:t>
              </a:r>
              <a:endParaRPr lang="en-US" sz="1000" dirty="0">
                <a:latin typeface="Frutiger 45 Light" panose="020B030303050402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734787" y="2282494"/>
              <a:ext cx="339472" cy="339472"/>
            </a:xfrm>
            <a:prstGeom prst="rect">
              <a:avLst/>
            </a:prstGeom>
            <a:solidFill>
              <a:srgbClr val="E2981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latin typeface="Frutiger 55 Roman" pitchFamily="34" charset="0"/>
                </a:rPr>
                <a:t>5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109033" y="3580913"/>
            <a:ext cx="1430814" cy="254604"/>
            <a:chOff x="6719795" y="2282494"/>
            <a:chExt cx="1908000" cy="339472"/>
          </a:xfrm>
        </p:grpSpPr>
        <p:sp>
          <p:nvSpPr>
            <p:cNvPr id="19" name="Rectangle 18"/>
            <p:cNvSpPr/>
            <p:nvPr/>
          </p:nvSpPr>
          <p:spPr bwMode="auto">
            <a:xfrm>
              <a:off x="6719795" y="2282494"/>
              <a:ext cx="1908000" cy="339472"/>
            </a:xfrm>
            <a:prstGeom prst="rect">
              <a:avLst/>
            </a:prstGeom>
            <a:solidFill>
              <a:srgbClr val="FF0000">
                <a:alpha val="1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00" dirty="0">
                  <a:latin typeface="Frutiger 45 Light" panose="020B0303030504020204" pitchFamily="34" charset="0"/>
                </a:rPr>
                <a:t>Societal</a:t>
              </a:r>
              <a:endParaRPr lang="en-US" sz="1000" dirty="0">
                <a:latin typeface="Frutiger 45 Light" panose="020B030303050402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6719795" y="2282494"/>
              <a:ext cx="339472" cy="339472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latin typeface="Frutiger 55 Roman" pitchFamily="34" charset="0"/>
                </a:rPr>
                <a:t>6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97594" y="3580913"/>
            <a:ext cx="1430814" cy="254604"/>
            <a:chOff x="8704802" y="2282494"/>
            <a:chExt cx="1908000" cy="33947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8704802" y="2282494"/>
              <a:ext cx="1908000" cy="339472"/>
            </a:xfrm>
            <a:prstGeom prst="rect">
              <a:avLst/>
            </a:prstGeom>
            <a:solidFill>
              <a:srgbClr val="7030A0">
                <a:alpha val="1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00" dirty="0">
                  <a:latin typeface="Frutiger 45 Light" panose="020B0303030504020204" pitchFamily="34" charset="0"/>
                </a:rPr>
                <a:t>Technological</a:t>
              </a:r>
              <a:endParaRPr lang="en-US" sz="1000" dirty="0">
                <a:latin typeface="Frutiger 45 Light" panose="020B030303050402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8704802" y="2282494"/>
              <a:ext cx="339472" cy="339472"/>
            </a:xfrm>
            <a:prstGeom prst="rect">
              <a:avLst/>
            </a:prstGeom>
            <a:solidFill>
              <a:srgbClr val="7030A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latin typeface="Frutiger 55 Roman" pitchFamily="34" charset="0"/>
                </a:rPr>
                <a:t>4</a:t>
              </a: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573503" y="763401"/>
            <a:ext cx="7557364" cy="438581"/>
          </a:xfrm>
          <a:prstGeom prst="rect">
            <a:avLst/>
          </a:prstGeom>
          <a:noFill/>
        </p:spPr>
        <p:txBody>
          <a:bodyPr wrap="square" lIns="68464" tIns="34231" rIns="68464" bIns="34231" rtlCol="0">
            <a:spAutoFit/>
          </a:bodyPr>
          <a:lstStyle/>
          <a:p>
            <a:pPr algn="l"/>
            <a:r>
              <a:rPr lang="en-US" sz="1200" kern="800" spc="-20" dirty="0">
                <a:solidFill>
                  <a:srgbClr val="000066"/>
                </a:solidFill>
              </a:rPr>
              <a:t>The Global Risks Perception Survey captures the perceptions of </a:t>
            </a:r>
            <a:r>
              <a:rPr lang="en-US" sz="1200" b="1" kern="800" spc="-20" dirty="0">
                <a:solidFill>
                  <a:srgbClr val="000066"/>
                </a:solidFill>
              </a:rPr>
              <a:t>742 </a:t>
            </a:r>
            <a:r>
              <a:rPr lang="en-US" sz="1200" kern="800" spc="-20" dirty="0">
                <a:solidFill>
                  <a:srgbClr val="000066"/>
                </a:solidFill>
              </a:rPr>
              <a:t>experts and decision-makers in the World Economic Forum’s </a:t>
            </a:r>
            <a:r>
              <a:rPr lang="en-US" sz="1200" kern="800" spc="-20" dirty="0" err="1">
                <a:solidFill>
                  <a:srgbClr val="000066"/>
                </a:solidFill>
              </a:rPr>
              <a:t>multistakeholder</a:t>
            </a:r>
            <a:r>
              <a:rPr lang="en-US" sz="1200" kern="800" spc="-20" dirty="0">
                <a:solidFill>
                  <a:srgbClr val="000066"/>
                </a:solidFill>
              </a:rPr>
              <a:t> communities on global risks, trends and their evolution.</a:t>
            </a:r>
          </a:p>
        </p:txBody>
      </p:sp>
      <p:pic>
        <p:nvPicPr>
          <p:cNvPr id="2764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" t="7955"/>
          <a:stretch/>
        </p:blipFill>
        <p:spPr bwMode="auto">
          <a:xfrm>
            <a:off x="4981441" y="1201966"/>
            <a:ext cx="2099728" cy="1383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047" y="1201966"/>
            <a:ext cx="2320606" cy="1383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909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17" y="258027"/>
            <a:ext cx="7593107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35478B"/>
                </a:solidFill>
              </a:rPr>
              <a:t>The Global Risks Report 2016</a:t>
            </a:r>
            <a:r>
              <a:rPr lang="en-US" sz="900" dirty="0">
                <a:solidFill>
                  <a:srgbClr val="35478B"/>
                </a:solidFill>
              </a:rPr>
              <a:t/>
            </a:r>
            <a:br>
              <a:rPr lang="en-US" sz="900" dirty="0">
                <a:solidFill>
                  <a:srgbClr val="35478B"/>
                </a:solidFill>
              </a:rPr>
            </a:br>
            <a:r>
              <a:rPr lang="en-US" sz="2000" b="1" dirty="0">
                <a:solidFill>
                  <a:srgbClr val="35478B"/>
                </a:solidFill>
              </a:rPr>
              <a:t>The Global Risks Landscape 2016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85750" y="1019175"/>
            <a:ext cx="8858250" cy="4095750"/>
            <a:chOff x="285750" y="1019175"/>
            <a:chExt cx="8858250" cy="4095750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0" t="4814" r="7703" b="31482"/>
            <a:stretch/>
          </p:blipFill>
          <p:spPr>
            <a:xfrm>
              <a:off x="285750" y="1019175"/>
              <a:ext cx="4036218" cy="4095750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3589361" y="4735773"/>
              <a:ext cx="675564" cy="3791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358" t="63279" r="8574" b="26559"/>
            <a:stretch/>
          </p:blipFill>
          <p:spPr>
            <a:xfrm>
              <a:off x="4255721" y="4334155"/>
              <a:ext cx="791891" cy="762361"/>
            </a:xfrm>
            <a:prstGeom prst="rect">
              <a:avLst/>
            </a:prstGeom>
          </p:spPr>
        </p:pic>
        <p:cxnSp>
          <p:nvCxnSpPr>
            <p:cNvPr id="12" name="Straight Connector 11"/>
            <p:cNvCxnSpPr>
              <a:endCxn id="11" idx="0"/>
            </p:cNvCxnSpPr>
            <p:nvPr/>
          </p:nvCxnSpPr>
          <p:spPr>
            <a:xfrm>
              <a:off x="4209924" y="4313295"/>
              <a:ext cx="441743" cy="20860"/>
            </a:xfrm>
            <a:prstGeom prst="line">
              <a:avLst/>
            </a:prstGeom>
            <a:ln w="635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216060" y="4334156"/>
              <a:ext cx="480798" cy="1577"/>
            </a:xfrm>
            <a:prstGeom prst="line">
              <a:avLst/>
            </a:prstGeom>
            <a:ln w="6350" cmpd="sng">
              <a:solidFill>
                <a:schemeClr val="accent2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06" t="84062" r="36209" b="5216"/>
            <a:stretch/>
          </p:blipFill>
          <p:spPr>
            <a:xfrm>
              <a:off x="5606662" y="4335733"/>
              <a:ext cx="3017573" cy="760783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273" t="4814" r="7701" b="72773"/>
            <a:stretch/>
          </p:blipFill>
          <p:spPr>
            <a:xfrm>
              <a:off x="5493715" y="1023986"/>
              <a:ext cx="3650285" cy="3071402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2838950" y="1128482"/>
              <a:ext cx="1500918" cy="1118112"/>
            </a:xfrm>
            <a:prstGeom prst="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8" name="Picture 13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41" r="3848" b="4668"/>
            <a:stretch/>
          </p:blipFill>
          <p:spPr bwMode="auto">
            <a:xfrm>
              <a:off x="7273430" y="1303476"/>
              <a:ext cx="293889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4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49" t="7692" r="6295" b="3097"/>
            <a:stretch/>
          </p:blipFill>
          <p:spPr bwMode="auto">
            <a:xfrm>
              <a:off x="8497335" y="1951278"/>
              <a:ext cx="295645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7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83" t="2181" r="6466" b="4413"/>
            <a:stretch/>
          </p:blipFill>
          <p:spPr bwMode="auto">
            <a:xfrm>
              <a:off x="6690199" y="1836536"/>
              <a:ext cx="287200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18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85" t="4323" r="4606" b="3930"/>
            <a:stretch/>
          </p:blipFill>
          <p:spPr bwMode="auto">
            <a:xfrm>
              <a:off x="7208158" y="3082365"/>
              <a:ext cx="291236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8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01" t="5015" b="5015"/>
            <a:stretch/>
          </p:blipFill>
          <p:spPr bwMode="auto">
            <a:xfrm>
              <a:off x="6714038" y="3057586"/>
              <a:ext cx="296901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2" t="5836" r="5925" b="7220"/>
            <a:stretch/>
          </p:blipFill>
          <p:spPr bwMode="auto">
            <a:xfrm>
              <a:off x="6204232" y="2743773"/>
              <a:ext cx="301585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5"/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25"/>
            <a:stretch/>
          </p:blipFill>
          <p:spPr bwMode="auto">
            <a:xfrm>
              <a:off x="6329548" y="2794365"/>
              <a:ext cx="272629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0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86"/>
            <a:stretch/>
          </p:blipFill>
          <p:spPr bwMode="auto">
            <a:xfrm>
              <a:off x="6517232" y="2846003"/>
              <a:ext cx="280795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7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56" t="4223" r="9628" b="7292"/>
            <a:stretch/>
          </p:blipFill>
          <p:spPr bwMode="auto">
            <a:xfrm>
              <a:off x="6006099" y="2519124"/>
              <a:ext cx="301504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Rectangle 26"/>
            <p:cNvSpPr/>
            <p:nvPr/>
          </p:nvSpPr>
          <p:spPr>
            <a:xfrm>
              <a:off x="5493715" y="1980536"/>
              <a:ext cx="197511" cy="6825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493716" y="2938366"/>
              <a:ext cx="402336" cy="9240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Rectangle 28"/>
            <p:cNvSpPr/>
            <p:nvPr/>
          </p:nvSpPr>
          <p:spPr>
            <a:xfrm rot="5400000">
              <a:off x="6218215" y="3218154"/>
              <a:ext cx="194073" cy="10944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Rectangle 29"/>
            <p:cNvSpPr/>
            <p:nvPr/>
          </p:nvSpPr>
          <p:spPr>
            <a:xfrm rot="5400000">
              <a:off x="5458767" y="3794242"/>
              <a:ext cx="376201" cy="31849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tangle 30"/>
            <p:cNvSpPr/>
            <p:nvPr/>
          </p:nvSpPr>
          <p:spPr>
            <a:xfrm rot="5400000">
              <a:off x="5449890" y="1106471"/>
              <a:ext cx="376201" cy="4055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2" name="Straight Connector 31"/>
            <p:cNvCxnSpPr/>
            <p:nvPr/>
          </p:nvCxnSpPr>
          <p:spPr>
            <a:xfrm>
              <a:off x="2838950" y="1121166"/>
              <a:ext cx="3057102" cy="49017"/>
            </a:xfrm>
            <a:prstGeom prst="line">
              <a:avLst/>
            </a:prstGeom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2838950" y="2246594"/>
              <a:ext cx="3001837" cy="1706897"/>
            </a:xfrm>
            <a:prstGeom prst="line">
              <a:avLst/>
            </a:prstGeom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860869" y="3055430"/>
              <a:ext cx="0" cy="819487"/>
            </a:xfrm>
            <a:prstGeom prst="line">
              <a:avLst/>
            </a:prstGeom>
            <a:ln w="9525" cmpd="sng">
              <a:solidFill>
                <a:schemeClr val="accent2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3722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650265"/>
              </p:ext>
            </p:extLst>
          </p:nvPr>
        </p:nvGraphicFramePr>
        <p:xfrm>
          <a:off x="1642" y="134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42" y="134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21"/>
            <a:ext cx="151166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00000"/>
              </a:lnSpc>
            </a:pPr>
            <a:endParaRPr lang="en-US" sz="9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79768691"/>
              </p:ext>
            </p:extLst>
          </p:nvPr>
        </p:nvGraphicFramePr>
        <p:xfrm>
          <a:off x="17" y="0"/>
          <a:ext cx="9147387" cy="5143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Slide" r:id="rId8" imgW="5539569" imgH="3115000" progId="PowerPoint.Slide.12">
                  <p:embed/>
                </p:oleObj>
              </mc:Choice>
              <mc:Fallback>
                <p:oleObj name="Slide" r:id="rId8" imgW="5539569" imgH="3115000" progId="PowerPoint.Slide.1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" y="0"/>
                        <a:ext cx="9147387" cy="5143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6" name="Picture 125" descr="Forum logo white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25" y="0"/>
            <a:ext cx="1020498" cy="102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24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8" name="citextline"/>
          <p:cNvCxnSpPr/>
          <p:nvPr/>
        </p:nvCxnSpPr>
        <p:spPr bwMode="auto">
          <a:xfrm>
            <a:off x="304821" y="1171595"/>
            <a:ext cx="8508001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9" name="Object 10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56858"/>
              </p:ext>
            </p:extLst>
          </p:nvPr>
        </p:nvGraphicFramePr>
        <p:xfrm>
          <a:off x="1643" y="134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43" y="134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" name="Group 102"/>
          <p:cNvGrpSpPr/>
          <p:nvPr/>
        </p:nvGrpSpPr>
        <p:grpSpPr bwMode="gray">
          <a:xfrm>
            <a:off x="759593" y="2166954"/>
            <a:ext cx="620919" cy="1171757"/>
            <a:chOff x="646551" y="3030770"/>
            <a:chExt cx="865141" cy="1062600"/>
          </a:xfrm>
        </p:grpSpPr>
        <p:sp>
          <p:nvSpPr>
            <p:cNvPr id="22" name="Rectangle 21"/>
            <p:cNvSpPr/>
            <p:nvPr/>
          </p:nvSpPr>
          <p:spPr bwMode="gray">
            <a:xfrm>
              <a:off x="646551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07</a:t>
              </a:r>
            </a:p>
          </p:txBody>
        </p:sp>
        <p:grpSp>
          <p:nvGrpSpPr>
            <p:cNvPr id="93" name="Group 92"/>
            <p:cNvGrpSpPr/>
            <p:nvPr/>
          </p:nvGrpSpPr>
          <p:grpSpPr bwMode="gray">
            <a:xfrm>
              <a:off x="692807" y="3316130"/>
              <a:ext cx="772629" cy="777240"/>
              <a:chOff x="452435" y="3316130"/>
              <a:chExt cx="772629" cy="664800"/>
            </a:xfrm>
          </p:grpSpPr>
          <p:sp>
            <p:nvSpPr>
              <p:cNvPr id="32" name="Rectangle 31"/>
              <p:cNvSpPr/>
              <p:nvPr/>
            </p:nvSpPr>
            <p:spPr bwMode="gray">
              <a:xfrm>
                <a:off x="452435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 bwMode="gray">
              <a:xfrm>
                <a:off x="452435" y="344909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 bwMode="gray">
              <a:xfrm>
                <a:off x="452435" y="358205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61"/>
              <p:cNvSpPr/>
              <p:nvPr/>
            </p:nvSpPr>
            <p:spPr bwMode="gray">
              <a:xfrm>
                <a:off x="452435" y="371501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71"/>
              <p:cNvSpPr/>
              <p:nvPr/>
            </p:nvSpPr>
            <p:spPr bwMode="gray">
              <a:xfrm>
                <a:off x="452435" y="384797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94" name="Group 93"/>
          <p:cNvGrpSpPr/>
          <p:nvPr/>
        </p:nvGrpSpPr>
        <p:grpSpPr bwMode="gray">
          <a:xfrm>
            <a:off x="1366642" y="2166954"/>
            <a:ext cx="620919" cy="1171757"/>
            <a:chOff x="1394188" y="3030770"/>
            <a:chExt cx="865141" cy="1062600"/>
          </a:xfrm>
        </p:grpSpPr>
        <p:sp>
          <p:nvSpPr>
            <p:cNvPr id="23" name="Rectangle 22"/>
            <p:cNvSpPr/>
            <p:nvPr/>
          </p:nvSpPr>
          <p:spPr bwMode="gray">
            <a:xfrm>
              <a:off x="1394188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08</a:t>
              </a:r>
            </a:p>
          </p:txBody>
        </p:sp>
        <p:grpSp>
          <p:nvGrpSpPr>
            <p:cNvPr id="92" name="Group 91"/>
            <p:cNvGrpSpPr/>
            <p:nvPr/>
          </p:nvGrpSpPr>
          <p:grpSpPr bwMode="gray">
            <a:xfrm>
              <a:off x="1440444" y="3316130"/>
              <a:ext cx="772629" cy="777240"/>
              <a:chOff x="1225064" y="3316130"/>
              <a:chExt cx="772629" cy="664800"/>
            </a:xfrm>
          </p:grpSpPr>
          <p:sp>
            <p:nvSpPr>
              <p:cNvPr id="33" name="Rectangle 32"/>
              <p:cNvSpPr/>
              <p:nvPr/>
            </p:nvSpPr>
            <p:spPr bwMode="gray">
              <a:xfrm>
                <a:off x="1225064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 bwMode="gray">
              <a:xfrm>
                <a:off x="1225064" y="344909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 bwMode="gray">
              <a:xfrm>
                <a:off x="1225064" y="358205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62"/>
              <p:cNvSpPr/>
              <p:nvPr/>
            </p:nvSpPr>
            <p:spPr bwMode="gray">
              <a:xfrm>
                <a:off x="1225064" y="371501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/>
              <p:cNvSpPr/>
              <p:nvPr/>
            </p:nvSpPr>
            <p:spPr bwMode="gray">
              <a:xfrm>
                <a:off x="1225064" y="384797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95" name="Group 94"/>
          <p:cNvGrpSpPr/>
          <p:nvPr/>
        </p:nvGrpSpPr>
        <p:grpSpPr bwMode="gray">
          <a:xfrm>
            <a:off x="1973687" y="2166954"/>
            <a:ext cx="620919" cy="1171757"/>
            <a:chOff x="2249752" y="3030770"/>
            <a:chExt cx="865141" cy="1062600"/>
          </a:xfrm>
        </p:grpSpPr>
        <p:sp>
          <p:nvSpPr>
            <p:cNvPr id="24" name="Rectangle 23"/>
            <p:cNvSpPr/>
            <p:nvPr/>
          </p:nvSpPr>
          <p:spPr bwMode="gray">
            <a:xfrm>
              <a:off x="2249752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09</a:t>
              </a:r>
            </a:p>
          </p:txBody>
        </p:sp>
        <p:grpSp>
          <p:nvGrpSpPr>
            <p:cNvPr id="91" name="Group 90"/>
            <p:cNvGrpSpPr/>
            <p:nvPr/>
          </p:nvGrpSpPr>
          <p:grpSpPr bwMode="gray">
            <a:xfrm>
              <a:off x="2296008" y="3316130"/>
              <a:ext cx="772629" cy="777240"/>
              <a:chOff x="1997694" y="3316130"/>
              <a:chExt cx="772629" cy="664800"/>
            </a:xfrm>
          </p:grpSpPr>
          <p:sp>
            <p:nvSpPr>
              <p:cNvPr id="34" name="Rectangle 33"/>
              <p:cNvSpPr/>
              <p:nvPr/>
            </p:nvSpPr>
            <p:spPr bwMode="gray">
              <a:xfrm>
                <a:off x="1997694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gray">
              <a:xfrm>
                <a:off x="1997694" y="344909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 bwMode="gray">
              <a:xfrm>
                <a:off x="1997694" y="358205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 bwMode="gray">
              <a:xfrm>
                <a:off x="1997694" y="371501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/>
              <p:cNvSpPr/>
              <p:nvPr/>
            </p:nvSpPr>
            <p:spPr bwMode="gray">
              <a:xfrm>
                <a:off x="1997694" y="384797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96" name="Group 95"/>
          <p:cNvGrpSpPr/>
          <p:nvPr/>
        </p:nvGrpSpPr>
        <p:grpSpPr bwMode="gray">
          <a:xfrm>
            <a:off x="2580733" y="2166954"/>
            <a:ext cx="620919" cy="1171757"/>
            <a:chOff x="3105317" y="3030770"/>
            <a:chExt cx="865141" cy="1062600"/>
          </a:xfrm>
        </p:grpSpPr>
        <p:sp>
          <p:nvSpPr>
            <p:cNvPr id="25" name="Rectangle 24"/>
            <p:cNvSpPr/>
            <p:nvPr/>
          </p:nvSpPr>
          <p:spPr bwMode="gray">
            <a:xfrm>
              <a:off x="3105317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10</a:t>
              </a:r>
            </a:p>
          </p:txBody>
        </p:sp>
        <p:grpSp>
          <p:nvGrpSpPr>
            <p:cNvPr id="90" name="Group 89"/>
            <p:cNvGrpSpPr/>
            <p:nvPr/>
          </p:nvGrpSpPr>
          <p:grpSpPr bwMode="gray">
            <a:xfrm>
              <a:off x="3151573" y="3316130"/>
              <a:ext cx="772629" cy="777240"/>
              <a:chOff x="2770323" y="3316130"/>
              <a:chExt cx="772629" cy="664800"/>
            </a:xfrm>
          </p:grpSpPr>
          <p:sp>
            <p:nvSpPr>
              <p:cNvPr id="35" name="Rectangle 34"/>
              <p:cNvSpPr/>
              <p:nvPr/>
            </p:nvSpPr>
            <p:spPr bwMode="gray">
              <a:xfrm>
                <a:off x="2770323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 bwMode="gray">
              <a:xfrm>
                <a:off x="2770323" y="344909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 bwMode="gray">
              <a:xfrm>
                <a:off x="2770323" y="358205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 bwMode="gray">
              <a:xfrm>
                <a:off x="2770323" y="371501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74"/>
              <p:cNvSpPr/>
              <p:nvPr/>
            </p:nvSpPr>
            <p:spPr bwMode="gray">
              <a:xfrm>
                <a:off x="2770323" y="384797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97" name="Group 96"/>
          <p:cNvGrpSpPr/>
          <p:nvPr/>
        </p:nvGrpSpPr>
        <p:grpSpPr bwMode="gray">
          <a:xfrm>
            <a:off x="3187782" y="2166954"/>
            <a:ext cx="620919" cy="1171757"/>
            <a:chOff x="3960881" y="3030770"/>
            <a:chExt cx="865141" cy="1062600"/>
          </a:xfrm>
        </p:grpSpPr>
        <p:sp>
          <p:nvSpPr>
            <p:cNvPr id="26" name="Rectangle 25"/>
            <p:cNvSpPr/>
            <p:nvPr/>
          </p:nvSpPr>
          <p:spPr bwMode="gray">
            <a:xfrm>
              <a:off x="3960881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11</a:t>
              </a:r>
            </a:p>
          </p:txBody>
        </p:sp>
        <p:grpSp>
          <p:nvGrpSpPr>
            <p:cNvPr id="89" name="Group 88"/>
            <p:cNvGrpSpPr/>
            <p:nvPr/>
          </p:nvGrpSpPr>
          <p:grpSpPr bwMode="gray">
            <a:xfrm>
              <a:off x="4007137" y="3316130"/>
              <a:ext cx="772629" cy="777240"/>
              <a:chOff x="3542952" y="3316130"/>
              <a:chExt cx="772629" cy="664800"/>
            </a:xfrm>
          </p:grpSpPr>
          <p:sp>
            <p:nvSpPr>
              <p:cNvPr id="36" name="Rectangle 35"/>
              <p:cNvSpPr/>
              <p:nvPr/>
            </p:nvSpPr>
            <p:spPr bwMode="gray">
              <a:xfrm>
                <a:off x="3542952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 bwMode="gray">
              <a:xfrm>
                <a:off x="3542952" y="3449090"/>
                <a:ext cx="772629" cy="132960"/>
              </a:xfrm>
              <a:prstGeom prst="rect">
                <a:avLst/>
              </a:prstGeom>
              <a:solidFill>
                <a:srgbClr val="41A44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 bwMode="gray">
              <a:xfrm>
                <a:off x="3542952" y="358205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Rectangle 65"/>
              <p:cNvSpPr/>
              <p:nvPr/>
            </p:nvSpPr>
            <p:spPr bwMode="gray">
              <a:xfrm>
                <a:off x="3542952" y="371501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 bwMode="gray">
              <a:xfrm>
                <a:off x="3542952" y="384797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98" name="Group 97"/>
          <p:cNvGrpSpPr/>
          <p:nvPr/>
        </p:nvGrpSpPr>
        <p:grpSpPr bwMode="gray">
          <a:xfrm>
            <a:off x="3794828" y="2166954"/>
            <a:ext cx="620919" cy="1171757"/>
            <a:chOff x="4816446" y="3030770"/>
            <a:chExt cx="865141" cy="1062600"/>
          </a:xfrm>
        </p:grpSpPr>
        <p:sp>
          <p:nvSpPr>
            <p:cNvPr id="27" name="Rectangle 26"/>
            <p:cNvSpPr/>
            <p:nvPr/>
          </p:nvSpPr>
          <p:spPr bwMode="gray">
            <a:xfrm>
              <a:off x="4816446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12</a:t>
              </a:r>
            </a:p>
          </p:txBody>
        </p:sp>
        <p:grpSp>
          <p:nvGrpSpPr>
            <p:cNvPr id="87" name="Group 86"/>
            <p:cNvGrpSpPr/>
            <p:nvPr/>
          </p:nvGrpSpPr>
          <p:grpSpPr bwMode="gray">
            <a:xfrm>
              <a:off x="4862702" y="3316130"/>
              <a:ext cx="772629" cy="777240"/>
              <a:chOff x="4315582" y="3316130"/>
              <a:chExt cx="772629" cy="664800"/>
            </a:xfrm>
          </p:grpSpPr>
          <p:sp>
            <p:nvSpPr>
              <p:cNvPr id="37" name="Rectangle 36"/>
              <p:cNvSpPr/>
              <p:nvPr/>
            </p:nvSpPr>
            <p:spPr bwMode="gray">
              <a:xfrm>
                <a:off x="4315582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 bwMode="gray">
              <a:xfrm>
                <a:off x="4315582" y="344909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 bwMode="gray">
              <a:xfrm>
                <a:off x="4315582" y="358205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 bwMode="gray">
              <a:xfrm>
                <a:off x="4315582" y="371501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 bwMode="gray">
              <a:xfrm>
                <a:off x="4315582" y="384797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99" name="Group 98"/>
          <p:cNvGrpSpPr/>
          <p:nvPr/>
        </p:nvGrpSpPr>
        <p:grpSpPr bwMode="gray">
          <a:xfrm>
            <a:off x="4401873" y="2166954"/>
            <a:ext cx="620919" cy="1171757"/>
            <a:chOff x="5672010" y="3030770"/>
            <a:chExt cx="865141" cy="1062600"/>
          </a:xfrm>
        </p:grpSpPr>
        <p:sp>
          <p:nvSpPr>
            <p:cNvPr id="28" name="Rectangle 27"/>
            <p:cNvSpPr/>
            <p:nvPr/>
          </p:nvSpPr>
          <p:spPr bwMode="gray">
            <a:xfrm>
              <a:off x="5672010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13</a:t>
              </a:r>
            </a:p>
          </p:txBody>
        </p:sp>
        <p:grpSp>
          <p:nvGrpSpPr>
            <p:cNvPr id="86" name="Group 85"/>
            <p:cNvGrpSpPr/>
            <p:nvPr/>
          </p:nvGrpSpPr>
          <p:grpSpPr bwMode="gray">
            <a:xfrm>
              <a:off x="5718266" y="3316130"/>
              <a:ext cx="772629" cy="777240"/>
              <a:chOff x="5088211" y="3316130"/>
              <a:chExt cx="772629" cy="664800"/>
            </a:xfrm>
          </p:grpSpPr>
          <p:sp>
            <p:nvSpPr>
              <p:cNvPr id="38" name="Rectangle 37"/>
              <p:cNvSpPr/>
              <p:nvPr/>
            </p:nvSpPr>
            <p:spPr bwMode="gray">
              <a:xfrm>
                <a:off x="5088211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 bwMode="gray">
              <a:xfrm>
                <a:off x="5088211" y="344909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 bwMode="gray">
              <a:xfrm>
                <a:off x="5088211" y="358205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 bwMode="gray">
              <a:xfrm>
                <a:off x="5088211" y="371501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Rectangle 77"/>
              <p:cNvSpPr/>
              <p:nvPr/>
            </p:nvSpPr>
            <p:spPr bwMode="gray">
              <a:xfrm>
                <a:off x="5088211" y="3847970"/>
                <a:ext cx="772629" cy="132960"/>
              </a:xfrm>
              <a:prstGeom prst="rect">
                <a:avLst/>
              </a:prstGeom>
              <a:solidFill>
                <a:srgbClr val="41A44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00" name="Group 99"/>
          <p:cNvGrpSpPr/>
          <p:nvPr/>
        </p:nvGrpSpPr>
        <p:grpSpPr bwMode="gray">
          <a:xfrm>
            <a:off x="5008922" y="2166954"/>
            <a:ext cx="620919" cy="1171757"/>
            <a:chOff x="6527575" y="3030770"/>
            <a:chExt cx="865141" cy="1062600"/>
          </a:xfrm>
        </p:grpSpPr>
        <p:sp>
          <p:nvSpPr>
            <p:cNvPr id="29" name="Rectangle 28"/>
            <p:cNvSpPr/>
            <p:nvPr/>
          </p:nvSpPr>
          <p:spPr bwMode="gray">
            <a:xfrm>
              <a:off x="6527575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14</a:t>
              </a:r>
            </a:p>
          </p:txBody>
        </p:sp>
        <p:grpSp>
          <p:nvGrpSpPr>
            <p:cNvPr id="85" name="Group 84"/>
            <p:cNvGrpSpPr/>
            <p:nvPr/>
          </p:nvGrpSpPr>
          <p:grpSpPr bwMode="gray">
            <a:xfrm>
              <a:off x="6573831" y="3316130"/>
              <a:ext cx="772629" cy="777240"/>
              <a:chOff x="5860840" y="3316130"/>
              <a:chExt cx="772629" cy="664800"/>
            </a:xfrm>
          </p:grpSpPr>
          <p:sp>
            <p:nvSpPr>
              <p:cNvPr id="39" name="Rectangle 38"/>
              <p:cNvSpPr/>
              <p:nvPr/>
            </p:nvSpPr>
            <p:spPr bwMode="gray">
              <a:xfrm>
                <a:off x="5860840" y="331613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 bwMode="gray">
              <a:xfrm>
                <a:off x="5860840" y="3449090"/>
                <a:ext cx="772629" cy="132960"/>
              </a:xfrm>
              <a:prstGeom prst="rect">
                <a:avLst/>
              </a:prstGeom>
              <a:solidFill>
                <a:srgbClr val="41A44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 bwMode="gray">
              <a:xfrm>
                <a:off x="5860840" y="358205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 bwMode="gray">
              <a:xfrm>
                <a:off x="5860840" y="3715010"/>
                <a:ext cx="772629" cy="132960"/>
              </a:xfrm>
              <a:prstGeom prst="rect">
                <a:avLst/>
              </a:prstGeom>
              <a:solidFill>
                <a:srgbClr val="008AB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/>
              <p:cNvSpPr/>
              <p:nvPr/>
            </p:nvSpPr>
            <p:spPr bwMode="gray">
              <a:xfrm>
                <a:off x="5860840" y="3847970"/>
                <a:ext cx="772629" cy="132960"/>
              </a:xfrm>
              <a:prstGeom prst="rect">
                <a:avLst/>
              </a:prstGeom>
              <a:solidFill>
                <a:srgbClr val="7030A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01" name="Group 100"/>
          <p:cNvGrpSpPr/>
          <p:nvPr/>
        </p:nvGrpSpPr>
        <p:grpSpPr bwMode="gray">
          <a:xfrm>
            <a:off x="5615968" y="2166954"/>
            <a:ext cx="620919" cy="1171757"/>
            <a:chOff x="7383139" y="3030770"/>
            <a:chExt cx="865141" cy="1062600"/>
          </a:xfrm>
        </p:grpSpPr>
        <p:sp>
          <p:nvSpPr>
            <p:cNvPr id="30" name="Rectangle 29"/>
            <p:cNvSpPr/>
            <p:nvPr/>
          </p:nvSpPr>
          <p:spPr bwMode="gray">
            <a:xfrm>
              <a:off x="7383139" y="3030770"/>
              <a:ext cx="865141" cy="285360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  <a:latin typeface="Frutiger 45 Light" panose="020B0303030504020204" pitchFamily="34" charset="0"/>
                </a:rPr>
                <a:t>2015</a:t>
              </a:r>
            </a:p>
          </p:txBody>
        </p:sp>
        <p:grpSp>
          <p:nvGrpSpPr>
            <p:cNvPr id="84" name="Group 83"/>
            <p:cNvGrpSpPr/>
            <p:nvPr/>
          </p:nvGrpSpPr>
          <p:grpSpPr bwMode="gray">
            <a:xfrm>
              <a:off x="7429395" y="3316130"/>
              <a:ext cx="772629" cy="777240"/>
              <a:chOff x="6633469" y="3316130"/>
              <a:chExt cx="772629" cy="664800"/>
            </a:xfrm>
          </p:grpSpPr>
          <p:sp>
            <p:nvSpPr>
              <p:cNvPr id="40" name="Rectangle 39"/>
              <p:cNvSpPr/>
              <p:nvPr/>
            </p:nvSpPr>
            <p:spPr bwMode="gray">
              <a:xfrm>
                <a:off x="6633469" y="331613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 bwMode="gray">
              <a:xfrm>
                <a:off x="6633469" y="3449090"/>
                <a:ext cx="772629" cy="13296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 bwMode="gray">
              <a:xfrm>
                <a:off x="6633469" y="358205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 bwMode="gray">
              <a:xfrm>
                <a:off x="6633469" y="3715010"/>
                <a:ext cx="772629" cy="132960"/>
              </a:xfrm>
              <a:prstGeom prst="rect">
                <a:avLst/>
              </a:prstGeom>
              <a:solidFill>
                <a:srgbClr val="E2981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/>
              <p:cNvSpPr/>
              <p:nvPr/>
            </p:nvSpPr>
            <p:spPr bwMode="gray">
              <a:xfrm>
                <a:off x="6633469" y="3847970"/>
                <a:ext cx="772629" cy="132960"/>
              </a:xfrm>
              <a:prstGeom prst="rect">
                <a:avLst/>
              </a:prstGeom>
              <a:solidFill>
                <a:srgbClr val="41A44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 algn="ctr"/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 bwMode="gray">
          <a:xfrm>
            <a:off x="6281752" y="2111879"/>
            <a:ext cx="755902" cy="1305591"/>
            <a:chOff x="8293599" y="2844863"/>
            <a:chExt cx="793828" cy="1183967"/>
          </a:xfrm>
        </p:grpSpPr>
        <p:sp>
          <p:nvSpPr>
            <p:cNvPr id="108" name="Rectangle 107"/>
            <p:cNvSpPr/>
            <p:nvPr/>
          </p:nvSpPr>
          <p:spPr bwMode="gray">
            <a:xfrm>
              <a:off x="8293599" y="2844863"/>
              <a:ext cx="793828" cy="1183967"/>
            </a:xfrm>
            <a:prstGeom prst="rect">
              <a:avLst/>
            </a:prstGeom>
            <a:solidFill>
              <a:srgbClr val="E7ECE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102" name="Group 101"/>
            <p:cNvGrpSpPr/>
            <p:nvPr/>
          </p:nvGrpSpPr>
          <p:grpSpPr bwMode="gray">
            <a:xfrm>
              <a:off x="8310364" y="2891495"/>
              <a:ext cx="760293" cy="1062600"/>
              <a:chOff x="8215605" y="3030770"/>
              <a:chExt cx="865141" cy="1062600"/>
            </a:xfrm>
          </p:grpSpPr>
          <p:sp>
            <p:nvSpPr>
              <p:cNvPr id="31" name="Rectangle 30"/>
              <p:cNvSpPr/>
              <p:nvPr/>
            </p:nvSpPr>
            <p:spPr bwMode="gray">
              <a:xfrm>
                <a:off x="8215605" y="3030770"/>
                <a:ext cx="865141" cy="285360"/>
              </a:xfrm>
              <a:prstGeom prst="rect">
                <a:avLst/>
              </a:prstGeom>
              <a:noFill/>
              <a:ln w="9525"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b"/>
              <a:lstStyle/>
              <a:p>
                <a:pPr algn="ctr"/>
                <a:r>
                  <a:rPr lang="en-GB" sz="1200" b="1" dirty="0">
                    <a:solidFill>
                      <a:schemeClr val="tx1"/>
                    </a:solidFill>
                    <a:latin typeface="Frutiger 45 Light" panose="020B0303030504020204" pitchFamily="34" charset="0"/>
                  </a:rPr>
                  <a:t>2016</a:t>
                </a:r>
              </a:p>
            </p:txBody>
          </p:sp>
          <p:grpSp>
            <p:nvGrpSpPr>
              <p:cNvPr id="83" name="Group 82"/>
              <p:cNvGrpSpPr/>
              <p:nvPr/>
            </p:nvGrpSpPr>
            <p:grpSpPr bwMode="gray">
              <a:xfrm>
                <a:off x="8277179" y="3316130"/>
                <a:ext cx="741997" cy="777240"/>
                <a:chOff x="7398318" y="3316130"/>
                <a:chExt cx="741997" cy="664800"/>
              </a:xfrm>
            </p:grpSpPr>
            <p:sp>
              <p:nvSpPr>
                <p:cNvPr id="41" name="Rectangle 40"/>
                <p:cNvSpPr/>
                <p:nvPr/>
              </p:nvSpPr>
              <p:spPr bwMode="gray">
                <a:xfrm>
                  <a:off x="7398318" y="3316130"/>
                  <a:ext cx="741997" cy="132960"/>
                </a:xfrm>
                <a:prstGeom prst="rect">
                  <a:avLst/>
                </a:prstGeom>
                <a:solidFill>
                  <a:srgbClr val="41A44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t"/>
                <a:lstStyle/>
                <a:p>
                  <a:pPr algn="ctr"/>
                  <a:endParaRPr lang="en-GB" sz="12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" name="Rectangle 50"/>
                <p:cNvSpPr/>
                <p:nvPr/>
              </p:nvSpPr>
              <p:spPr bwMode="gray">
                <a:xfrm>
                  <a:off x="7398318" y="3449090"/>
                  <a:ext cx="741997" cy="132960"/>
                </a:xfrm>
                <a:prstGeom prst="rect">
                  <a:avLst/>
                </a:prstGeom>
                <a:solidFill>
                  <a:srgbClr val="E29815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t"/>
                <a:lstStyle/>
                <a:p>
                  <a:pPr algn="ctr"/>
                  <a:endParaRPr lang="en-GB" sz="12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" name="Rectangle 60"/>
                <p:cNvSpPr/>
                <p:nvPr/>
              </p:nvSpPr>
              <p:spPr bwMode="gray">
                <a:xfrm>
                  <a:off x="7398318" y="3582050"/>
                  <a:ext cx="741997" cy="132960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t"/>
                <a:lstStyle/>
                <a:p>
                  <a:pPr algn="ctr"/>
                  <a:endParaRPr lang="en-GB" sz="12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Rectangle 70"/>
                <p:cNvSpPr/>
                <p:nvPr/>
              </p:nvSpPr>
              <p:spPr bwMode="gray">
                <a:xfrm>
                  <a:off x="7398318" y="3715010"/>
                  <a:ext cx="741997" cy="132960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t"/>
                <a:lstStyle/>
                <a:p>
                  <a:pPr algn="ctr"/>
                  <a:endParaRPr lang="en-GB" sz="12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1" name="Rectangle 80"/>
                <p:cNvSpPr/>
                <p:nvPr/>
              </p:nvSpPr>
              <p:spPr bwMode="gray">
                <a:xfrm>
                  <a:off x="7398318" y="3847970"/>
                  <a:ext cx="741997" cy="132960"/>
                </a:xfrm>
                <a:prstGeom prst="rect">
                  <a:avLst/>
                </a:prstGeom>
                <a:solidFill>
                  <a:srgbClr val="008AB3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t"/>
                <a:lstStyle/>
                <a:p>
                  <a:pPr algn="ctr"/>
                  <a:endParaRPr lang="en-GB" sz="12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36" name="Group 135"/>
          <p:cNvGrpSpPr/>
          <p:nvPr/>
        </p:nvGrpSpPr>
        <p:grpSpPr bwMode="gray">
          <a:xfrm>
            <a:off x="810351" y="1578005"/>
            <a:ext cx="1144010" cy="410721"/>
            <a:chOff x="765032" y="2112358"/>
            <a:chExt cx="1612816" cy="547628"/>
          </a:xfrm>
        </p:grpSpPr>
        <p:sp>
          <p:nvSpPr>
            <p:cNvPr id="112" name="TextBox 111"/>
            <p:cNvSpPr txBox="1"/>
            <p:nvPr/>
          </p:nvSpPr>
          <p:spPr bwMode="gray">
            <a:xfrm>
              <a:off x="765032" y="2112358"/>
              <a:ext cx="1612815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0000"/>
                  </a:solidFill>
                </a:rPr>
                <a:t>Pandemics</a:t>
              </a:r>
              <a:endParaRPr lang="en-GB" sz="1200" dirty="0">
                <a:solidFill>
                  <a:srgbClr val="FF0000"/>
                </a:solidFill>
              </a:endParaRPr>
            </a:p>
          </p:txBody>
        </p:sp>
        <p:sp>
          <p:nvSpPr>
            <p:cNvPr id="116" name="Right Brace 115"/>
            <p:cNvSpPr/>
            <p:nvPr/>
          </p:nvSpPr>
          <p:spPr bwMode="gray">
            <a:xfrm rot="16200000">
              <a:off x="1488591" y="1770728"/>
              <a:ext cx="165700" cy="1612815"/>
            </a:xfrm>
            <a:prstGeom prst="rightBrace">
              <a:avLst>
                <a:gd name="adj1" fmla="val 0"/>
                <a:gd name="adj2" fmla="val 49675"/>
              </a:avLst>
            </a:prstGeom>
            <a:ln w="952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7" name="Group 136"/>
          <p:cNvGrpSpPr/>
          <p:nvPr/>
        </p:nvGrpSpPr>
        <p:grpSpPr bwMode="gray">
          <a:xfrm>
            <a:off x="2031435" y="1578025"/>
            <a:ext cx="1137039" cy="417131"/>
            <a:chOff x="2411625" y="2103812"/>
            <a:chExt cx="1624075" cy="556175"/>
          </a:xfrm>
        </p:grpSpPr>
        <p:sp>
          <p:nvSpPr>
            <p:cNvPr id="113" name="TextBox 112"/>
            <p:cNvSpPr txBox="1"/>
            <p:nvPr/>
          </p:nvSpPr>
          <p:spPr bwMode="gray">
            <a:xfrm>
              <a:off x="2422885" y="2103812"/>
              <a:ext cx="1612815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rgbClr val="FF0000"/>
                  </a:solidFill>
                </a:rPr>
                <a:t>Chronic disease</a:t>
              </a:r>
              <a:endParaRPr lang="en-GB" sz="1200" dirty="0">
                <a:solidFill>
                  <a:srgbClr val="FF0000"/>
                </a:solidFill>
              </a:endParaRPr>
            </a:p>
          </p:txBody>
        </p:sp>
        <p:sp>
          <p:nvSpPr>
            <p:cNvPr id="117" name="Right Brace 116"/>
            <p:cNvSpPr/>
            <p:nvPr/>
          </p:nvSpPr>
          <p:spPr bwMode="gray">
            <a:xfrm rot="16200000">
              <a:off x="3135183" y="1770729"/>
              <a:ext cx="165700" cy="1612815"/>
            </a:xfrm>
            <a:prstGeom prst="rightBrace">
              <a:avLst>
                <a:gd name="adj1" fmla="val 0"/>
                <a:gd name="adj2" fmla="val 49675"/>
              </a:avLst>
            </a:prstGeom>
            <a:ln w="952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 bwMode="gray">
          <a:xfrm>
            <a:off x="5124962" y="1406573"/>
            <a:ext cx="1586600" cy="417133"/>
            <a:chOff x="6837324" y="2103812"/>
            <a:chExt cx="2077139" cy="556177"/>
          </a:xfrm>
        </p:grpSpPr>
        <p:sp>
          <p:nvSpPr>
            <p:cNvPr id="114" name="TextBox 113"/>
            <p:cNvSpPr txBox="1"/>
            <p:nvPr/>
          </p:nvSpPr>
          <p:spPr bwMode="gray">
            <a:xfrm>
              <a:off x="6837324" y="2103812"/>
              <a:ext cx="2077139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rgbClr val="E29815"/>
                  </a:solidFill>
                </a:rPr>
                <a:t>Interstate conflict</a:t>
              </a:r>
              <a:endParaRPr lang="en-GB" sz="1200" dirty="0">
                <a:solidFill>
                  <a:srgbClr val="E29815"/>
                </a:solidFill>
              </a:endParaRPr>
            </a:p>
          </p:txBody>
        </p:sp>
        <p:sp>
          <p:nvSpPr>
            <p:cNvPr id="118" name="Right Brace 117"/>
            <p:cNvSpPr/>
            <p:nvPr/>
          </p:nvSpPr>
          <p:spPr bwMode="gray">
            <a:xfrm rot="16200000">
              <a:off x="7806679" y="2211204"/>
              <a:ext cx="165703" cy="731867"/>
            </a:xfrm>
            <a:prstGeom prst="rightBrace">
              <a:avLst>
                <a:gd name="adj1" fmla="val 0"/>
                <a:gd name="adj2" fmla="val 50047"/>
              </a:avLst>
            </a:prstGeom>
            <a:ln w="9525">
              <a:solidFill>
                <a:srgbClr val="E2981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8" name="Group 137"/>
          <p:cNvGrpSpPr/>
          <p:nvPr/>
        </p:nvGrpSpPr>
        <p:grpSpPr bwMode="gray">
          <a:xfrm>
            <a:off x="3088231" y="1406554"/>
            <a:ext cx="3115457" cy="588588"/>
            <a:chOff x="3939881" y="2103812"/>
            <a:chExt cx="4315582" cy="706897"/>
          </a:xfrm>
        </p:grpSpPr>
        <p:sp>
          <p:nvSpPr>
            <p:cNvPr id="115" name="TextBox 114"/>
            <p:cNvSpPr txBox="1"/>
            <p:nvPr/>
          </p:nvSpPr>
          <p:spPr bwMode="gray">
            <a:xfrm>
              <a:off x="3939881" y="2103812"/>
              <a:ext cx="3233616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200" dirty="0">
                  <a:solidFill>
                    <a:srgbClr val="41A441"/>
                  </a:solidFill>
                </a:rPr>
                <a:t>Climate change + </a:t>
              </a:r>
              <a:br>
                <a:rPr lang="en-US" sz="1200" dirty="0">
                  <a:solidFill>
                    <a:srgbClr val="41A441"/>
                  </a:solidFill>
                </a:rPr>
              </a:br>
              <a:r>
                <a:rPr lang="en-US" sz="1200" dirty="0">
                  <a:solidFill>
                    <a:srgbClr val="FF0000"/>
                  </a:solidFill>
                </a:rPr>
                <a:t>water supply crises</a:t>
              </a:r>
              <a:endParaRPr lang="en-US" sz="1200" baseline="30000" dirty="0">
                <a:solidFill>
                  <a:srgbClr val="FF0000"/>
                </a:solidFill>
              </a:endParaRPr>
            </a:p>
          </p:txBody>
        </p:sp>
        <p:sp>
          <p:nvSpPr>
            <p:cNvPr id="119" name="Right Brace 118"/>
            <p:cNvSpPr/>
            <p:nvPr/>
          </p:nvSpPr>
          <p:spPr bwMode="gray">
            <a:xfrm rot="16200000">
              <a:off x="6107769" y="663014"/>
              <a:ext cx="165702" cy="4129687"/>
            </a:xfrm>
            <a:prstGeom prst="rightBrace">
              <a:avLst>
                <a:gd name="adj1" fmla="val 0"/>
                <a:gd name="adj2" fmla="val 32669"/>
              </a:avLst>
            </a:prstGeom>
            <a:ln w="9525">
              <a:solidFill>
                <a:srgbClr val="41A44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0" name="Group 139"/>
          <p:cNvGrpSpPr/>
          <p:nvPr/>
        </p:nvGrpSpPr>
        <p:grpSpPr bwMode="gray">
          <a:xfrm>
            <a:off x="815605" y="3371372"/>
            <a:ext cx="2959915" cy="503315"/>
            <a:chOff x="765031" y="3987146"/>
            <a:chExt cx="4144391" cy="671086"/>
          </a:xfrm>
        </p:grpSpPr>
        <p:sp>
          <p:nvSpPr>
            <p:cNvPr id="128" name="TextBox 127"/>
            <p:cNvSpPr txBox="1"/>
            <p:nvPr/>
          </p:nvSpPr>
          <p:spPr bwMode="gray">
            <a:xfrm>
              <a:off x="776049" y="4201031"/>
              <a:ext cx="4133373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rgbClr val="008AB3"/>
                  </a:solidFill>
                </a:rPr>
                <a:t>Asset price collapse</a:t>
              </a:r>
            </a:p>
          </p:txBody>
        </p:sp>
        <p:sp>
          <p:nvSpPr>
            <p:cNvPr id="132" name="Right Brace 131"/>
            <p:cNvSpPr/>
            <p:nvPr/>
          </p:nvSpPr>
          <p:spPr bwMode="gray">
            <a:xfrm rot="5400000">
              <a:off x="2745927" y="2006250"/>
              <a:ext cx="171582" cy="4133373"/>
            </a:xfrm>
            <a:prstGeom prst="rightBrace">
              <a:avLst>
                <a:gd name="adj1" fmla="val 0"/>
                <a:gd name="adj2" fmla="val 50000"/>
              </a:avLst>
            </a:prstGeom>
            <a:ln w="9525">
              <a:solidFill>
                <a:srgbClr val="008AB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1" name="Group 140"/>
          <p:cNvGrpSpPr/>
          <p:nvPr/>
        </p:nvGrpSpPr>
        <p:grpSpPr bwMode="gray">
          <a:xfrm>
            <a:off x="3784228" y="3371353"/>
            <a:ext cx="1224711" cy="509724"/>
            <a:chOff x="4944661" y="3987146"/>
            <a:chExt cx="1655417" cy="679632"/>
          </a:xfrm>
        </p:grpSpPr>
        <p:sp>
          <p:nvSpPr>
            <p:cNvPr id="129" name="TextBox 128"/>
            <p:cNvSpPr txBox="1"/>
            <p:nvPr/>
          </p:nvSpPr>
          <p:spPr bwMode="gray">
            <a:xfrm>
              <a:off x="4944661" y="4209577"/>
              <a:ext cx="1655417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200" dirty="0">
                  <a:solidFill>
                    <a:srgbClr val="008AB3"/>
                  </a:solidFill>
                </a:rPr>
                <a:t>Major financial</a:t>
              </a:r>
              <a:br>
                <a:rPr lang="en-US" sz="1200" dirty="0">
                  <a:solidFill>
                    <a:srgbClr val="008AB3"/>
                  </a:solidFill>
                </a:rPr>
              </a:br>
              <a:r>
                <a:rPr lang="en-US" sz="1200" dirty="0">
                  <a:solidFill>
                    <a:srgbClr val="008AB3"/>
                  </a:solidFill>
                </a:rPr>
                <a:t>system failure</a:t>
              </a:r>
            </a:p>
          </p:txBody>
        </p:sp>
        <p:sp>
          <p:nvSpPr>
            <p:cNvPr id="133" name="Right Brace 132"/>
            <p:cNvSpPr/>
            <p:nvPr/>
          </p:nvSpPr>
          <p:spPr bwMode="gray">
            <a:xfrm rot="5400000">
              <a:off x="5699545" y="3290385"/>
              <a:ext cx="171584" cy="1565105"/>
            </a:xfrm>
            <a:prstGeom prst="rightBrace">
              <a:avLst>
                <a:gd name="adj1" fmla="val 0"/>
                <a:gd name="adj2" fmla="val 50000"/>
              </a:avLst>
            </a:prstGeom>
            <a:ln w="9525">
              <a:solidFill>
                <a:srgbClr val="008AB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2" name="Group 141"/>
          <p:cNvGrpSpPr/>
          <p:nvPr/>
        </p:nvGrpSpPr>
        <p:grpSpPr bwMode="gray">
          <a:xfrm>
            <a:off x="798966" y="4016366"/>
            <a:ext cx="2369490" cy="494811"/>
            <a:chOff x="765031" y="4890704"/>
            <a:chExt cx="3293188" cy="659748"/>
          </a:xfrm>
        </p:grpSpPr>
        <p:sp>
          <p:nvSpPr>
            <p:cNvPr id="130" name="TextBox 129"/>
            <p:cNvSpPr txBox="1"/>
            <p:nvPr/>
          </p:nvSpPr>
          <p:spPr bwMode="gray">
            <a:xfrm>
              <a:off x="765032" y="5093251"/>
              <a:ext cx="3293187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200" dirty="0">
                  <a:solidFill>
                    <a:srgbClr val="008AB3"/>
                  </a:solidFill>
                </a:rPr>
                <a:t>Oil price shock + Retrenchment</a:t>
              </a:r>
              <a:br>
                <a:rPr lang="en-US" sz="1200" dirty="0">
                  <a:solidFill>
                    <a:srgbClr val="008AB3"/>
                  </a:solidFill>
                </a:rPr>
              </a:br>
              <a:r>
                <a:rPr lang="en-US" sz="1200" dirty="0">
                  <a:solidFill>
                    <a:srgbClr val="008AB3"/>
                  </a:solidFill>
                </a:rPr>
                <a:t>from globalization</a:t>
              </a:r>
            </a:p>
          </p:txBody>
        </p:sp>
        <p:sp>
          <p:nvSpPr>
            <p:cNvPr id="134" name="Right Brace 133"/>
            <p:cNvSpPr/>
            <p:nvPr/>
          </p:nvSpPr>
          <p:spPr bwMode="gray">
            <a:xfrm rot="5400000">
              <a:off x="2308945" y="3346790"/>
              <a:ext cx="171581" cy="3259409"/>
            </a:xfrm>
            <a:prstGeom prst="rightBrace">
              <a:avLst>
                <a:gd name="adj1" fmla="val 0"/>
                <a:gd name="adj2" fmla="val 50000"/>
              </a:avLst>
            </a:prstGeom>
            <a:ln w="9525">
              <a:solidFill>
                <a:srgbClr val="008AB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3" name="Group 142"/>
          <p:cNvGrpSpPr/>
          <p:nvPr/>
        </p:nvGrpSpPr>
        <p:grpSpPr bwMode="gray">
          <a:xfrm>
            <a:off x="2031417" y="3887851"/>
            <a:ext cx="3557482" cy="407244"/>
            <a:chOff x="2377848" y="4719123"/>
            <a:chExt cx="5041114" cy="542992"/>
          </a:xfrm>
        </p:grpSpPr>
        <p:sp>
          <p:nvSpPr>
            <p:cNvPr id="131" name="TextBox 130"/>
            <p:cNvSpPr txBox="1"/>
            <p:nvPr/>
          </p:nvSpPr>
          <p:spPr bwMode="gray">
            <a:xfrm>
              <a:off x="4098883" y="4804914"/>
              <a:ext cx="3092760" cy="45720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rgbClr val="008AB3"/>
                  </a:solidFill>
                </a:rPr>
                <a:t>Fiscal crises</a:t>
              </a:r>
            </a:p>
          </p:txBody>
        </p:sp>
        <p:sp>
          <p:nvSpPr>
            <p:cNvPr id="135" name="Right Brace 134"/>
            <p:cNvSpPr/>
            <p:nvPr/>
          </p:nvSpPr>
          <p:spPr bwMode="gray">
            <a:xfrm rot="5400000">
              <a:off x="4812614" y="2284357"/>
              <a:ext cx="171581" cy="5041114"/>
            </a:xfrm>
            <a:prstGeom prst="rightBrace">
              <a:avLst>
                <a:gd name="adj1" fmla="val 0"/>
                <a:gd name="adj2" fmla="val 35149"/>
              </a:avLst>
            </a:prstGeom>
            <a:ln w="9525">
              <a:solidFill>
                <a:srgbClr val="008AB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44" name="Footnote"/>
          <p:cNvSpPr/>
          <p:nvPr/>
        </p:nvSpPr>
        <p:spPr bwMode="gray">
          <a:xfrm>
            <a:off x="389344" y="4637086"/>
            <a:ext cx="8449896" cy="138500"/>
          </a:xfrm>
          <a:prstGeom prst="rect">
            <a:avLst/>
          </a:prstGeom>
          <a:extLst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900" kern="0" dirty="0">
                <a:latin typeface="+mj-lt"/>
                <a:sym typeface="Arial"/>
              </a:rPr>
              <a:t>Note: </a:t>
            </a:r>
            <a:r>
              <a:rPr lang="en-US" sz="900" kern="0" dirty="0">
                <a:latin typeface="Frutiger 45 Light" panose="020B0303030504020204" pitchFamily="34" charset="0"/>
                <a:sym typeface="Arial"/>
              </a:rPr>
              <a:t>This depiction assigns constant categories to some risks which have changed categories over the report’s eleven edition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60394" y="2390792"/>
            <a:ext cx="169091" cy="571501"/>
            <a:chOff x="572317" y="3187701"/>
            <a:chExt cx="225484" cy="762001"/>
          </a:xfrm>
          <a:solidFill>
            <a:schemeClr val="accent6">
              <a:lumMod val="90000"/>
            </a:schemeClr>
          </a:solidFill>
        </p:grpSpPr>
        <p:sp>
          <p:nvSpPr>
            <p:cNvPr id="121" name="Oval 120"/>
            <p:cNvSpPr/>
            <p:nvPr/>
          </p:nvSpPr>
          <p:spPr bwMode="gray">
            <a:xfrm>
              <a:off x="572317" y="3187701"/>
              <a:ext cx="225484" cy="225425"/>
            </a:xfrm>
            <a:prstGeom prst="ellipse">
              <a:avLst/>
            </a:prstGeom>
            <a:solidFill>
              <a:srgbClr val="E7ECE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6" tIns="18000" rIns="73156" bIns="0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5" name="Oval 144"/>
            <p:cNvSpPr/>
            <p:nvPr/>
          </p:nvSpPr>
          <p:spPr bwMode="gray">
            <a:xfrm>
              <a:off x="572317" y="3724277"/>
              <a:ext cx="225484" cy="225425"/>
            </a:xfrm>
            <a:prstGeom prst="ellipse">
              <a:avLst/>
            </a:prstGeom>
            <a:solidFill>
              <a:srgbClr val="E7ECE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6" tIns="18000" rIns="73156" bIns="0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5</a:t>
              </a:r>
            </a:p>
          </p:txBody>
        </p:sp>
        <p:cxnSp>
          <p:nvCxnSpPr>
            <p:cNvPr id="123" name="Straight Arrow Connector 122"/>
            <p:cNvCxnSpPr>
              <a:stCxn id="121" idx="4"/>
              <a:endCxn id="145" idx="0"/>
            </p:cNvCxnSpPr>
            <p:nvPr/>
          </p:nvCxnSpPr>
          <p:spPr bwMode="gray">
            <a:xfrm>
              <a:off x="685057" y="3413126"/>
              <a:ext cx="0" cy="311151"/>
            </a:xfrm>
            <a:prstGeom prst="straightConnector1">
              <a:avLst/>
            </a:prstGeom>
            <a:grpFill/>
            <a:ln w="9525">
              <a:solidFill>
                <a:schemeClr val="tx2"/>
              </a:solidFill>
              <a:headEnd type="none" w="med" len="med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2361" y="234574"/>
            <a:ext cx="7656204" cy="647189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000066"/>
                </a:solidFill>
              </a:rPr>
              <a:t>The </a:t>
            </a:r>
            <a:r>
              <a:rPr lang="en-US" dirty="0">
                <a:solidFill>
                  <a:srgbClr val="000066"/>
                </a:solidFill>
              </a:rPr>
              <a:t>Global Risks Report 2016 </a:t>
            </a:r>
            <a:r>
              <a:rPr lang="en-US" sz="2400" dirty="0">
                <a:solidFill>
                  <a:srgbClr val="35478B"/>
                </a:solidFill>
              </a:rPr>
              <a:t/>
            </a:r>
            <a:br>
              <a:rPr lang="en-US" sz="2400" dirty="0">
                <a:solidFill>
                  <a:srgbClr val="35478B"/>
                </a:solidFill>
              </a:rPr>
            </a:br>
            <a:r>
              <a:rPr lang="en-US" sz="2200" b="1" dirty="0">
                <a:solidFill>
                  <a:srgbClr val="000066"/>
                </a:solidFill>
              </a:rPr>
              <a:t>In recent years, societal, geopolitical and environmental risks have taken primacy over economic risks</a:t>
            </a:r>
            <a:endParaRPr lang="en-US" sz="2400" b="1" dirty="0">
              <a:solidFill>
                <a:srgbClr val="0000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>
                <a:latin typeface="Frutiger 45 Light" panose="020B0303030504020204" pitchFamily="34" charset="0"/>
              </a:rPr>
              <a:t>World Economic Forum, </a:t>
            </a:r>
            <a:r>
              <a:rPr lang="en-GB" i="1" dirty="0">
                <a:latin typeface="Frutiger 45 Light" panose="020B0303030504020204" pitchFamily="34" charset="0"/>
              </a:rPr>
              <a:t>Global Risks Report </a:t>
            </a:r>
            <a:r>
              <a:rPr lang="en-GB" i="1" dirty="0" smtClean="0">
                <a:latin typeface="Frutiger 45 Light" panose="020B0303030504020204" pitchFamily="34" charset="0"/>
              </a:rPr>
              <a:t>2016</a:t>
            </a:r>
            <a:endParaRPr lang="en-GB" i="1" dirty="0">
              <a:latin typeface="Frutiger 45 Light" panose="020B0303030504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1187" y="2445855"/>
            <a:ext cx="598577" cy="377016"/>
          </a:xfrm>
          <a:prstGeom prst="rect">
            <a:avLst/>
          </a:prstGeom>
          <a:noFill/>
        </p:spPr>
        <p:txBody>
          <a:bodyPr wrap="square" lIns="68464" tIns="34231" rIns="68464" bIns="34231" rtlCol="0">
            <a:spAutoFit/>
          </a:bodyPr>
          <a:lstStyle/>
          <a:p>
            <a:pPr algn="l"/>
            <a:r>
              <a:rPr lang="en-US" sz="1000" dirty="0"/>
              <a:t>By impact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7390439" y="1457267"/>
            <a:ext cx="1430814" cy="2000943"/>
            <a:chOff x="10041273" y="1788246"/>
            <a:chExt cx="1908000" cy="2667924"/>
          </a:xfrm>
        </p:grpSpPr>
        <p:grpSp>
          <p:nvGrpSpPr>
            <p:cNvPr id="149" name="Group 148"/>
            <p:cNvGrpSpPr/>
            <p:nvPr/>
          </p:nvGrpSpPr>
          <p:grpSpPr>
            <a:xfrm>
              <a:off x="10041273" y="1788246"/>
              <a:ext cx="1908000" cy="339472"/>
              <a:chOff x="9855200" y="2166504"/>
              <a:chExt cx="2126002" cy="378259"/>
            </a:xfrm>
          </p:grpSpPr>
          <p:sp>
            <p:nvSpPr>
              <p:cNvPr id="162" name="Rectangle 161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008AB3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Economic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179" name="Rectangle 178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008AB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>
              <a:off x="10041273" y="2370359"/>
              <a:ext cx="1908000" cy="339472"/>
              <a:chOff x="9855200" y="2166504"/>
              <a:chExt cx="2126002" cy="378259"/>
            </a:xfrm>
          </p:grpSpPr>
          <p:sp>
            <p:nvSpPr>
              <p:cNvPr id="160" name="Rectangle 159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41A441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Environment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161" name="Rectangle 160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41A44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151" name="Group 150"/>
            <p:cNvGrpSpPr/>
            <p:nvPr/>
          </p:nvGrpSpPr>
          <p:grpSpPr>
            <a:xfrm>
              <a:off x="10041273" y="2952472"/>
              <a:ext cx="1908000" cy="339472"/>
              <a:chOff x="9855200" y="2166504"/>
              <a:chExt cx="2126002" cy="378259"/>
            </a:xfrm>
          </p:grpSpPr>
          <p:sp>
            <p:nvSpPr>
              <p:cNvPr id="158" name="Rectangle 157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E29815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Geopolitic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159" name="Rectangle 158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E2981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152" name="Group 151"/>
            <p:cNvGrpSpPr/>
            <p:nvPr/>
          </p:nvGrpSpPr>
          <p:grpSpPr>
            <a:xfrm>
              <a:off x="10041273" y="3534585"/>
              <a:ext cx="1908000" cy="339472"/>
              <a:chOff x="9855200" y="2166504"/>
              <a:chExt cx="2126002" cy="378259"/>
            </a:xfrm>
          </p:grpSpPr>
          <p:sp>
            <p:nvSpPr>
              <p:cNvPr id="156" name="Rectangle 155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FF0000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Societ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157" name="Rectangle 156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  <p:grpSp>
          <p:nvGrpSpPr>
            <p:cNvPr id="153" name="Group 152"/>
            <p:cNvGrpSpPr/>
            <p:nvPr/>
          </p:nvGrpSpPr>
          <p:grpSpPr>
            <a:xfrm>
              <a:off x="10041273" y="4116698"/>
              <a:ext cx="1908000" cy="339472"/>
              <a:chOff x="9855200" y="2166504"/>
              <a:chExt cx="2126002" cy="378259"/>
            </a:xfrm>
          </p:grpSpPr>
          <p:sp>
            <p:nvSpPr>
              <p:cNvPr id="154" name="Rectangle 153"/>
              <p:cNvSpPr/>
              <p:nvPr/>
            </p:nvSpPr>
            <p:spPr bwMode="auto">
              <a:xfrm>
                <a:off x="9855200" y="2166504"/>
                <a:ext cx="2126002" cy="378259"/>
              </a:xfrm>
              <a:prstGeom prst="rect">
                <a:avLst/>
              </a:prstGeom>
              <a:solidFill>
                <a:srgbClr val="7030A0">
                  <a:alpha val="1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dirty="0">
                    <a:latin typeface="Frutiger 45 Light" panose="020B0303030504020204" pitchFamily="34" charset="0"/>
                  </a:rPr>
                  <a:t>Technological</a:t>
                </a:r>
                <a:endParaRPr lang="en-US" sz="1000" dirty="0">
                  <a:latin typeface="Frutiger 45 Light" panose="020B0303030504020204" pitchFamily="34" charset="0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 bwMode="auto">
              <a:xfrm>
                <a:off x="9855200" y="2166504"/>
                <a:ext cx="378259" cy="378259"/>
              </a:xfrm>
              <a:prstGeom prst="rect">
                <a:avLst/>
              </a:prstGeom>
              <a:solidFill>
                <a:srgbClr val="7030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32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latin typeface="Frutiger 55 Roma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826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820816" y="1160094"/>
            <a:ext cx="3829754" cy="3416320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lvl="1" algn="ctr"/>
            <a:r>
              <a:rPr lang="en-GB" b="1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Societies </a:t>
            </a:r>
            <a:r>
              <a:rPr lang="en-GB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continue to be under pressure </a:t>
            </a:r>
          </a:p>
          <a:p>
            <a:pPr lvl="1" algn="ctr"/>
            <a:r>
              <a:rPr lang="en-GB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(most interconnected risks) </a:t>
            </a:r>
          </a:p>
          <a:p>
            <a:pPr lvl="1" algn="ctr"/>
            <a:endParaRPr lang="fr-CH" dirty="0" smtClean="0">
              <a:solidFill>
                <a:srgbClr val="000066"/>
              </a:solidFill>
            </a:endParaRPr>
          </a:p>
          <a:p>
            <a:pPr lvl="1" algn="ctr"/>
            <a:endParaRPr lang="fr-CH" dirty="0" smtClean="0">
              <a:solidFill>
                <a:srgbClr val="000066"/>
              </a:solidFill>
            </a:endParaRPr>
          </a:p>
          <a:p>
            <a:pPr lvl="1" algn="ctr"/>
            <a:endParaRPr lang="fr-CH" dirty="0">
              <a:solidFill>
                <a:srgbClr val="000066"/>
              </a:solidFill>
            </a:endParaRPr>
          </a:p>
          <a:p>
            <a:pPr lvl="1" algn="ctr"/>
            <a:endParaRPr lang="fr-CH" dirty="0">
              <a:solidFill>
                <a:srgbClr val="000066"/>
              </a:solidFill>
            </a:endParaRPr>
          </a:p>
          <a:p>
            <a:pPr lvl="1" algn="ctr"/>
            <a:endParaRPr lang="en-GB" dirty="0" smtClean="0">
              <a:solidFill>
                <a:srgbClr val="000066"/>
              </a:solidFill>
            </a:endParaRPr>
          </a:p>
          <a:p>
            <a:pPr lvl="1" algn="ctr"/>
            <a:r>
              <a:rPr lang="en-GB" b="1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Profound social instability </a:t>
            </a:r>
            <a:r>
              <a:rPr lang="en-GB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and </a:t>
            </a:r>
            <a:r>
              <a:rPr lang="en-GB" b="1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unemployment or underemployment </a:t>
            </a:r>
            <a:r>
              <a:rPr lang="en-GB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most interconnected risks pair</a:t>
            </a:r>
            <a:r>
              <a:rPr lang="en-GB" b="1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689" y="2102281"/>
            <a:ext cx="1283785" cy="126632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17" y="258027"/>
            <a:ext cx="7593107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r>
              <a:rPr lang="en-US" sz="900" dirty="0">
                <a:solidFill>
                  <a:srgbClr val="000066"/>
                </a:solidFill>
              </a:rPr>
              <a:t/>
            </a:r>
            <a:br>
              <a:rPr lang="en-US" sz="900" dirty="0">
                <a:solidFill>
                  <a:srgbClr val="000066"/>
                </a:solidFill>
              </a:rPr>
            </a:br>
            <a:r>
              <a:rPr lang="en-US" sz="2000" b="1" dirty="0">
                <a:solidFill>
                  <a:srgbClr val="000066"/>
                </a:solidFill>
              </a:rPr>
              <a:t>The Global Risks Interconnections Map 2016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8522" y="1103700"/>
            <a:ext cx="4749097" cy="4074300"/>
            <a:chOff x="58522" y="1103700"/>
            <a:chExt cx="4749097" cy="4074300"/>
          </a:xfrm>
        </p:grpSpPr>
        <p:sp>
          <p:nvSpPr>
            <p:cNvPr id="38" name="Rectangle 37"/>
            <p:cNvSpPr/>
            <p:nvPr/>
          </p:nvSpPr>
          <p:spPr>
            <a:xfrm>
              <a:off x="3589361" y="4794525"/>
              <a:ext cx="675564" cy="3791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69" b="20796"/>
            <a:stretch/>
          </p:blipFill>
          <p:spPr>
            <a:xfrm>
              <a:off x="430306" y="1103700"/>
              <a:ext cx="4377313" cy="4074300"/>
            </a:xfrm>
            <a:prstGeom prst="rect">
              <a:avLst/>
            </a:prstGeom>
          </p:spPr>
        </p:pic>
        <p:sp>
          <p:nvSpPr>
            <p:cNvPr id="41" name="Rectangle 40"/>
            <p:cNvSpPr/>
            <p:nvPr/>
          </p:nvSpPr>
          <p:spPr>
            <a:xfrm>
              <a:off x="430306" y="1103700"/>
              <a:ext cx="1550894" cy="17873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086" t="82771" r="5127" b="4506"/>
            <a:stretch/>
          </p:blipFill>
          <p:spPr>
            <a:xfrm>
              <a:off x="58522" y="4659027"/>
              <a:ext cx="667620" cy="514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8745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57217" y="258027"/>
            <a:ext cx="7593107" cy="598620"/>
          </a:xfrm>
        </p:spPr>
        <p:txBody>
          <a:bodyPr>
            <a:normAutofit/>
          </a:bodyPr>
          <a:lstStyle/>
          <a:p>
            <a:r>
              <a:rPr lang="en-US" sz="1200" dirty="0">
                <a:solidFill>
                  <a:srgbClr val="000066"/>
                </a:solidFill>
              </a:rPr>
              <a:t>The Global Risks Report 2016</a:t>
            </a:r>
            <a:r>
              <a:rPr lang="en-US" sz="900" dirty="0">
                <a:solidFill>
                  <a:srgbClr val="000066"/>
                </a:solidFill>
              </a:rPr>
              <a:t/>
            </a:r>
            <a:br>
              <a:rPr lang="en-US" sz="900" dirty="0">
                <a:solidFill>
                  <a:srgbClr val="000066"/>
                </a:solidFill>
              </a:rPr>
            </a:br>
            <a:r>
              <a:rPr lang="en-US" sz="2000" b="1" dirty="0">
                <a:solidFill>
                  <a:srgbClr val="000066"/>
                </a:solidFill>
              </a:rPr>
              <a:t>Coping with a changing climate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8522" y="1103700"/>
            <a:ext cx="4749097" cy="4074300"/>
            <a:chOff x="58522" y="1103700"/>
            <a:chExt cx="4749097" cy="4074300"/>
          </a:xfrm>
        </p:grpSpPr>
        <p:sp>
          <p:nvSpPr>
            <p:cNvPr id="38" name="Rectangle 37"/>
            <p:cNvSpPr/>
            <p:nvPr/>
          </p:nvSpPr>
          <p:spPr>
            <a:xfrm>
              <a:off x="3589361" y="4794525"/>
              <a:ext cx="675564" cy="3791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69" b="20796"/>
            <a:stretch/>
          </p:blipFill>
          <p:spPr>
            <a:xfrm>
              <a:off x="430306" y="1103700"/>
              <a:ext cx="4377313" cy="4074300"/>
            </a:xfrm>
            <a:prstGeom prst="rect">
              <a:avLst/>
            </a:prstGeom>
          </p:spPr>
        </p:pic>
        <p:sp>
          <p:nvSpPr>
            <p:cNvPr id="41" name="Rectangle 40"/>
            <p:cNvSpPr/>
            <p:nvPr/>
          </p:nvSpPr>
          <p:spPr>
            <a:xfrm>
              <a:off x="430306" y="1103700"/>
              <a:ext cx="1550894" cy="17873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086" t="82771" r="5127" b="4506"/>
            <a:stretch/>
          </p:blipFill>
          <p:spPr>
            <a:xfrm>
              <a:off x="58522" y="4659027"/>
              <a:ext cx="667620" cy="514650"/>
            </a:xfrm>
            <a:prstGeom prst="rect">
              <a:avLst/>
            </a:prstGeom>
          </p:spPr>
        </p:pic>
        <p:pic>
          <p:nvPicPr>
            <p:cNvPr id="43" name="Picture 2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776469" y="1671024"/>
              <a:ext cx="144966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24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72"/>
            <a:stretch/>
          </p:blipFill>
          <p:spPr bwMode="auto">
            <a:xfrm>
              <a:off x="3055142" y="3127602"/>
              <a:ext cx="137491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1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8473" y="2294381"/>
              <a:ext cx="142118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1562" y="1671024"/>
              <a:ext cx="144929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2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7755" y="2300596"/>
              <a:ext cx="153730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4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8898" y="2815887"/>
              <a:ext cx="145986" cy="144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extBox 1"/>
          <p:cNvSpPr txBox="1"/>
          <p:nvPr/>
        </p:nvSpPr>
        <p:spPr>
          <a:xfrm>
            <a:off x="4807619" y="3271603"/>
            <a:ext cx="4037525" cy="1631216"/>
          </a:xfrm>
          <a:prstGeom prst="rect">
            <a:avLst/>
          </a:prstGeom>
          <a:noFill/>
        </p:spPr>
        <p:txBody>
          <a:bodyPr wrap="square" lIns="91304" tIns="45648" rIns="91304" bIns="45648" rtlCol="0">
            <a:spAutoFit/>
          </a:bodyPr>
          <a:lstStyle/>
          <a:p>
            <a:pPr lvl="1" algn="ctr"/>
            <a:r>
              <a:rPr lang="en-GB" sz="1600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The potential for </a:t>
            </a:r>
            <a:r>
              <a:rPr lang="en-GB" sz="1600" b="1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climate change to exacerbate water crises</a:t>
            </a:r>
            <a:r>
              <a:rPr lang="en-GB" sz="1600" kern="0" spc="-3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 with impacts including conflicts and more forced migration, calling for improved water governance.</a:t>
            </a:r>
          </a:p>
          <a:p>
            <a:pPr lvl="1" algn="ctr"/>
            <a:endParaRPr lang="fr-CH" sz="2000" kern="0" spc="-30" dirty="0">
              <a:solidFill>
                <a:srgbClr val="35478B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876425" y="950595"/>
            <a:ext cx="3829050" cy="2321008"/>
            <a:chOff x="1876425" y="950594"/>
            <a:chExt cx="3829050" cy="2321008"/>
          </a:xfrm>
        </p:grpSpPr>
        <p:cxnSp>
          <p:nvCxnSpPr>
            <p:cNvPr id="5" name="Straight Connector 4"/>
            <p:cNvCxnSpPr/>
            <p:nvPr/>
          </p:nvCxnSpPr>
          <p:spPr>
            <a:xfrm flipV="1">
              <a:off x="3276600" y="950594"/>
              <a:ext cx="2428875" cy="497207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7"/>
            <p:cNvSpPr/>
            <p:nvPr/>
          </p:nvSpPr>
          <p:spPr>
            <a:xfrm>
              <a:off x="1876425" y="1447801"/>
              <a:ext cx="1400175" cy="1512086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3276599" y="2972849"/>
              <a:ext cx="2359625" cy="298753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5636224" y="950595"/>
            <a:ext cx="2672354" cy="2321008"/>
            <a:chOff x="5453740" y="965074"/>
            <a:chExt cx="2672354" cy="2321008"/>
          </a:xfrm>
        </p:grpSpPr>
        <p:pic>
          <p:nvPicPr>
            <p:cNvPr id="2050" name="Picture 2" descr="S:\CSI\2. GLOBAL COMPETITIVENESS NETWORK\Projects\Global Risk Reports\6. Presentations\2. Events and presentations - GRR 2016\2. KES 12 January 2016\Screen Shot 2016-01-10 at 16.40.10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740" y="965074"/>
              <a:ext cx="2672354" cy="2321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906352" y="1013409"/>
              <a:ext cx="36241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0388" y="1931098"/>
              <a:ext cx="35529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0345" y="965074"/>
              <a:ext cx="362321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8078" y="1894958"/>
              <a:ext cx="38432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30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7433" y="2715012"/>
              <a:ext cx="364968" cy="360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5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CTOR" val="1.34586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CTOR" val="1.3458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CTOR" val="1.34586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CTOR" val="1.34586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wDd.XWRkaiR_XjEJMy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CTOR" val="1.34586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CTOR" val="1.34586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  <p:tag name="FACTOR" val="1.55"/>
</p:tagLst>
</file>

<file path=ppt/theme/theme1.xml><?xml version="1.0" encoding="utf-8"?>
<a:theme xmlns:a="http://schemas.openxmlformats.org/drawingml/2006/main" name="World Economic Forum">
  <a:themeElements>
    <a:clrScheme name="Custom 56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D7D7D7"/>
      </a:accent1>
      <a:accent2>
        <a:srgbClr val="9D9D9D"/>
      </a:accent2>
      <a:accent3>
        <a:srgbClr val="838383"/>
      </a:accent3>
      <a:accent4>
        <a:srgbClr val="686868"/>
      </a:accent4>
      <a:accent5>
        <a:srgbClr val="4B4B4B"/>
      </a:accent5>
      <a:accent6>
        <a:srgbClr val="131313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N_InternalUse_4_3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3.xml><?xml version="1.0" encoding="utf-8"?>
<a:theme xmlns:a="http://schemas.openxmlformats.org/drawingml/2006/main" name="1_EN_InternalUse_4_3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4.xml><?xml version="1.0" encoding="utf-8"?>
<a:theme xmlns:a="http://schemas.openxmlformats.org/drawingml/2006/main" name="2_EN_InternalUse_4_3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5.xml><?xml version="1.0" encoding="utf-8"?>
<a:theme xmlns:a="http://schemas.openxmlformats.org/drawingml/2006/main" name="3_EN_InternalUse_4_3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6.xml><?xml version="1.0" encoding="utf-8"?>
<a:theme xmlns:a="http://schemas.openxmlformats.org/drawingml/2006/main" name="4_EN_InternalUse_4_3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7.xml><?xml version="1.0" encoding="utf-8"?>
<a:theme xmlns:a="http://schemas.openxmlformats.org/drawingml/2006/main" name="5_EN_InternalUse_4_3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74</TotalTime>
  <Words>1043</Words>
  <Application>Microsoft Office PowerPoint</Application>
  <PresentationFormat>On-screen Show (16:9)</PresentationFormat>
  <Paragraphs>191</Paragraphs>
  <Slides>25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World Economic Forum</vt:lpstr>
      <vt:lpstr>EN_InternalUse_4_3</vt:lpstr>
      <vt:lpstr>1_EN_InternalUse_4_3</vt:lpstr>
      <vt:lpstr>2_EN_InternalUse_4_3</vt:lpstr>
      <vt:lpstr>3_EN_InternalUse_4_3</vt:lpstr>
      <vt:lpstr>4_EN_InternalUse_4_3</vt:lpstr>
      <vt:lpstr>5_EN_InternalUse_4_3</vt:lpstr>
      <vt:lpstr>think-cell Slide</vt:lpstr>
      <vt:lpstr>Slide</vt:lpstr>
      <vt:lpstr>PowerPoint Presentation</vt:lpstr>
      <vt:lpstr>The Global Risks Report 2016 </vt:lpstr>
      <vt:lpstr>The Global Risks Report 2016 Governance structure</vt:lpstr>
      <vt:lpstr>The Global Risks Report 2016 Methodology of the Global Risks Report and Survey</vt:lpstr>
      <vt:lpstr>The Global Risks Report 2016 The Global Risks Landscape 2016</vt:lpstr>
      <vt:lpstr>PowerPoint Presentation</vt:lpstr>
      <vt:lpstr>The Global Risks Report 2016  In recent years, societal, geopolitical and environmental risks have taken primacy over economic risks</vt:lpstr>
      <vt:lpstr>The Global Risks Report 2016 The Global Risks Interconnections Map 2016</vt:lpstr>
      <vt:lpstr>The Global Risks Report 2016 Coping with a changing climate</vt:lpstr>
      <vt:lpstr>The Global Risks Report 2016 Humanity on the Move</vt:lpstr>
      <vt:lpstr>The Global Risks Report 2016 Economic Growth 4.0</vt:lpstr>
      <vt:lpstr>PowerPoint Presentation</vt:lpstr>
      <vt:lpstr>Part 2 examines the security outlook over the next 15 years</vt:lpstr>
      <vt:lpstr>… and explores three plausible trajectories in a rapidly and radically changing international security landscape</vt:lpstr>
      <vt:lpstr>PowerPoint Presentation</vt:lpstr>
      <vt:lpstr>The report highlights three broad-based risks that may  affect global development over the coming decade</vt:lpstr>
      <vt:lpstr>PowerPoint Presentation</vt:lpstr>
      <vt:lpstr>The Global Risks Report 2016 Global Risk of Highest Concern for Doing Business</vt:lpstr>
      <vt:lpstr>Global Risk of Highest Concern for Doing Business Failure of national governance</vt:lpstr>
      <vt:lpstr>Global Risk of Highest Concern for Doing Business Cyberattacks</vt:lpstr>
      <vt:lpstr>Global Risk of Highest Concern for Doing Business Asset bubble</vt:lpstr>
      <vt:lpstr>Executives in Europe are overwhelmingly concerned by economic challenges</vt:lpstr>
      <vt:lpstr>The Global Risks Report 2016 The Resilience Imperative</vt:lpstr>
      <vt:lpstr>The Global Risks Report 2016 Interactive tools</vt:lpstr>
      <vt:lpstr>PowerPoint Presentation</vt:lpstr>
    </vt:vector>
  </TitlesOfParts>
  <Company>Andrew Hodgson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k Degenhardt</dc:creator>
  <cp:lastModifiedBy>Caroline Galvan</cp:lastModifiedBy>
  <cp:revision>409</cp:revision>
  <cp:lastPrinted>2016-01-11T17:02:21Z</cp:lastPrinted>
  <dcterms:created xsi:type="dcterms:W3CDTF">2015-06-10T09:34:22Z</dcterms:created>
  <dcterms:modified xsi:type="dcterms:W3CDTF">2016-04-26T19:46:12Z</dcterms:modified>
</cp:coreProperties>
</file>